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88" r:id="rId4"/>
  </p:sldMasterIdLst>
  <p:notesMasterIdLst>
    <p:notesMasterId r:id="rId5"/>
  </p:notesMasterIdLst>
  <p:handoutMasterIdLst>
    <p:handoutMasterId r:id="rId6"/>
  </p:handoutMasterIdLst>
  <p:sldSz cx="12192000" cy="6858000"/>
  <p:notesSz cx="6858000" cy="9144000"/>
  <p:embeddedFontLst>
    <p:embeddedFont>
      <p:font typeface="Avenir Book" panose="02000503020000020003" pitchFamily="2" charset="0"/>
      <p:regular r:id="rId7"/>
      <p:italic r:id="rId8"/>
    </p:embeddedFont>
  </p:embeddedFontLst>
  <p:custDataLst>
    <p:tags r:id="rId9"/>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27C545-EEA8-4FC2-9CE2-3B0BE95062CA}" v="63" dt="2025-01-13T15:55:14.142"/>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41" autoAdjust="0"/>
    <p:restoredTop sz="86395" autoAdjust="0"/>
  </p:normalViewPr>
  <p:slideViewPr>
    <p:cSldViewPr snapToGrid="0" showGuides="1">
      <p:cViewPr varScale="1">
        <p:scale>
          <a:sx n="110" d="100"/>
          <a:sy n="110" d="100"/>
        </p:scale>
        <p:origin x="928" y="16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0"/>
    </p:cViewPr>
  </p:sorterViewPr>
  <p:notesViewPr>
    <p:cSldViewPr snapToGrid="0" showGuides="1">
      <p:cViewPr varScale="1">
        <p:scale>
          <a:sx n="80" d="100"/>
          <a:sy n="80" d="100"/>
        </p:scale>
        <p:origin x="4002" y="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font" Target="fonts/font1.fntdata"/><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handoutMaster" Target="handoutMasters/handoutMaster1.xml"/><Relationship Id="rId11" Type="http://schemas.openxmlformats.org/officeDocument/2006/relationships/viewProps" Target="viewProps.xml"/><Relationship Id="rId5" Type="http://schemas.openxmlformats.org/officeDocument/2006/relationships/notesMaster" Target="notesMasters/notesMaster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rnardo Lares" userId="c0b75bcc-c53b-4925-b19e-54b7afc94e15" providerId="ADAL" clId="{C15AA311-282E-4FE1-8D22-8A825A272403}"/>
    <pc:docChg chg="undo custSel delSld modMainMaster delSection modSection">
      <pc:chgData name="Bernardo Lares" userId="c0b75bcc-c53b-4925-b19e-54b7afc94e15" providerId="ADAL" clId="{C15AA311-282E-4FE1-8D22-8A825A272403}" dt="2024-10-09T13:08:15.447" v="2248" actId="403"/>
      <pc:docMkLst>
        <pc:docMk/>
      </pc:docMkLst>
      <pc:sldChg chg="del">
        <pc:chgData name="Bernardo Lares" userId="c0b75bcc-c53b-4925-b19e-54b7afc94e15" providerId="ADAL" clId="{C15AA311-282E-4FE1-8D22-8A825A272403}" dt="2024-10-07T14:23:15.840" v="405" actId="47"/>
        <pc:sldMkLst>
          <pc:docMk/>
          <pc:sldMk cId="1972642022" sldId="267"/>
        </pc:sldMkLst>
      </pc:sldChg>
      <pc:sldChg chg="del">
        <pc:chgData name="Bernardo Lares" userId="c0b75bcc-c53b-4925-b19e-54b7afc94e15" providerId="ADAL" clId="{C15AA311-282E-4FE1-8D22-8A825A272403}" dt="2024-10-07T14:23:15.840" v="405" actId="47"/>
        <pc:sldMkLst>
          <pc:docMk/>
          <pc:sldMk cId="3270229055" sldId="268"/>
        </pc:sldMkLst>
      </pc:sldChg>
      <pc:sldChg chg="del">
        <pc:chgData name="Bernardo Lares" userId="c0b75bcc-c53b-4925-b19e-54b7afc94e15" providerId="ADAL" clId="{C15AA311-282E-4FE1-8D22-8A825A272403}" dt="2024-10-07T14:23:15.840" v="405" actId="47"/>
        <pc:sldMkLst>
          <pc:docMk/>
          <pc:sldMk cId="4185379128" sldId="272"/>
        </pc:sldMkLst>
      </pc:sldChg>
      <pc:sldChg chg="del">
        <pc:chgData name="Bernardo Lares" userId="c0b75bcc-c53b-4925-b19e-54b7afc94e15" providerId="ADAL" clId="{C15AA311-282E-4FE1-8D22-8A825A272403}" dt="2024-10-07T14:23:15.840" v="405" actId="47"/>
        <pc:sldMkLst>
          <pc:docMk/>
          <pc:sldMk cId="2056604106" sldId="273"/>
        </pc:sldMkLst>
      </pc:sldChg>
      <pc:sldChg chg="del">
        <pc:chgData name="Bernardo Lares" userId="c0b75bcc-c53b-4925-b19e-54b7afc94e15" providerId="ADAL" clId="{C15AA311-282E-4FE1-8D22-8A825A272403}" dt="2024-10-07T14:23:15.840" v="405" actId="47"/>
        <pc:sldMkLst>
          <pc:docMk/>
          <pc:sldMk cId="537373066" sldId="274"/>
        </pc:sldMkLst>
      </pc:sldChg>
      <pc:sldChg chg="del">
        <pc:chgData name="Bernardo Lares" userId="c0b75bcc-c53b-4925-b19e-54b7afc94e15" providerId="ADAL" clId="{C15AA311-282E-4FE1-8D22-8A825A272403}" dt="2024-10-07T14:23:15.840" v="405" actId="47"/>
        <pc:sldMkLst>
          <pc:docMk/>
          <pc:sldMk cId="1392131033" sldId="275"/>
        </pc:sldMkLst>
      </pc:sldChg>
      <pc:sldChg chg="del">
        <pc:chgData name="Bernardo Lares" userId="c0b75bcc-c53b-4925-b19e-54b7afc94e15" providerId="ADAL" clId="{C15AA311-282E-4FE1-8D22-8A825A272403}" dt="2024-10-07T14:23:15.840" v="405" actId="47"/>
        <pc:sldMkLst>
          <pc:docMk/>
          <pc:sldMk cId="1144271124" sldId="276"/>
        </pc:sldMkLst>
      </pc:sldChg>
      <pc:sldChg chg="del">
        <pc:chgData name="Bernardo Lares" userId="c0b75bcc-c53b-4925-b19e-54b7afc94e15" providerId="ADAL" clId="{C15AA311-282E-4FE1-8D22-8A825A272403}" dt="2024-10-07T14:23:15.840" v="405" actId="47"/>
        <pc:sldMkLst>
          <pc:docMk/>
          <pc:sldMk cId="1410339050" sldId="277"/>
        </pc:sldMkLst>
      </pc:sldChg>
      <pc:sldChg chg="del">
        <pc:chgData name="Bernardo Lares" userId="c0b75bcc-c53b-4925-b19e-54b7afc94e15" providerId="ADAL" clId="{C15AA311-282E-4FE1-8D22-8A825A272403}" dt="2024-10-07T14:23:15.840" v="405" actId="47"/>
        <pc:sldMkLst>
          <pc:docMk/>
          <pc:sldMk cId="3078424570" sldId="278"/>
        </pc:sldMkLst>
      </pc:sldChg>
      <pc:sldChg chg="del">
        <pc:chgData name="Bernardo Lares" userId="c0b75bcc-c53b-4925-b19e-54b7afc94e15" providerId="ADAL" clId="{C15AA311-282E-4FE1-8D22-8A825A272403}" dt="2024-10-07T14:23:15.840" v="405" actId="47"/>
        <pc:sldMkLst>
          <pc:docMk/>
          <pc:sldMk cId="498826670" sldId="279"/>
        </pc:sldMkLst>
      </pc:sldChg>
      <pc:sldChg chg="del">
        <pc:chgData name="Bernardo Lares" userId="c0b75bcc-c53b-4925-b19e-54b7afc94e15" providerId="ADAL" clId="{C15AA311-282E-4FE1-8D22-8A825A272403}" dt="2024-10-07T14:23:15.840" v="405" actId="47"/>
        <pc:sldMkLst>
          <pc:docMk/>
          <pc:sldMk cId="3400983477" sldId="280"/>
        </pc:sldMkLst>
      </pc:sldChg>
      <pc:sldChg chg="del">
        <pc:chgData name="Bernardo Lares" userId="c0b75bcc-c53b-4925-b19e-54b7afc94e15" providerId="ADAL" clId="{C15AA311-282E-4FE1-8D22-8A825A272403}" dt="2024-10-07T14:23:15.840" v="405" actId="47"/>
        <pc:sldMkLst>
          <pc:docMk/>
          <pc:sldMk cId="4145874638" sldId="281"/>
        </pc:sldMkLst>
      </pc:sldChg>
      <pc:sldChg chg="del">
        <pc:chgData name="Bernardo Lares" userId="c0b75bcc-c53b-4925-b19e-54b7afc94e15" providerId="ADAL" clId="{C15AA311-282E-4FE1-8D22-8A825A272403}" dt="2024-10-07T14:23:15.840" v="405" actId="47"/>
        <pc:sldMkLst>
          <pc:docMk/>
          <pc:sldMk cId="3515252735" sldId="282"/>
        </pc:sldMkLst>
      </pc:sldChg>
      <pc:sldChg chg="del">
        <pc:chgData name="Bernardo Lares" userId="c0b75bcc-c53b-4925-b19e-54b7afc94e15" providerId="ADAL" clId="{C15AA311-282E-4FE1-8D22-8A825A272403}" dt="2024-10-07T14:23:15.840" v="405" actId="47"/>
        <pc:sldMkLst>
          <pc:docMk/>
          <pc:sldMk cId="2755177146" sldId="283"/>
        </pc:sldMkLst>
      </pc:sldChg>
      <pc:sldChg chg="del">
        <pc:chgData name="Bernardo Lares" userId="c0b75bcc-c53b-4925-b19e-54b7afc94e15" providerId="ADAL" clId="{C15AA311-282E-4FE1-8D22-8A825A272403}" dt="2024-10-07T14:23:15.840" v="405" actId="47"/>
        <pc:sldMkLst>
          <pc:docMk/>
          <pc:sldMk cId="2220869080" sldId="284"/>
        </pc:sldMkLst>
      </pc:sldChg>
      <pc:sldChg chg="del">
        <pc:chgData name="Bernardo Lares" userId="c0b75bcc-c53b-4925-b19e-54b7afc94e15" providerId="ADAL" clId="{C15AA311-282E-4FE1-8D22-8A825A272403}" dt="2024-10-07T14:23:15.840" v="405" actId="47"/>
        <pc:sldMkLst>
          <pc:docMk/>
          <pc:sldMk cId="1792713262" sldId="285"/>
        </pc:sldMkLst>
      </pc:sldChg>
      <pc:sldChg chg="del">
        <pc:chgData name="Bernardo Lares" userId="c0b75bcc-c53b-4925-b19e-54b7afc94e15" providerId="ADAL" clId="{C15AA311-282E-4FE1-8D22-8A825A272403}" dt="2024-10-07T14:23:15.840" v="405" actId="47"/>
        <pc:sldMkLst>
          <pc:docMk/>
          <pc:sldMk cId="3022229282" sldId="286"/>
        </pc:sldMkLst>
      </pc:sldChg>
      <pc:sldChg chg="del">
        <pc:chgData name="Bernardo Lares" userId="c0b75bcc-c53b-4925-b19e-54b7afc94e15" providerId="ADAL" clId="{C15AA311-282E-4FE1-8D22-8A825A272403}" dt="2024-10-07T14:23:15.840" v="405" actId="47"/>
        <pc:sldMkLst>
          <pc:docMk/>
          <pc:sldMk cId="1874210663" sldId="287"/>
        </pc:sldMkLst>
      </pc:sldChg>
      <pc:sldChg chg="del">
        <pc:chgData name="Bernardo Lares" userId="c0b75bcc-c53b-4925-b19e-54b7afc94e15" providerId="ADAL" clId="{C15AA311-282E-4FE1-8D22-8A825A272403}" dt="2024-10-07T14:23:15.840" v="405" actId="47"/>
        <pc:sldMkLst>
          <pc:docMk/>
          <pc:sldMk cId="31364914" sldId="288"/>
        </pc:sldMkLst>
      </pc:sldChg>
      <pc:sldChg chg="del">
        <pc:chgData name="Bernardo Lares" userId="c0b75bcc-c53b-4925-b19e-54b7afc94e15" providerId="ADAL" clId="{C15AA311-282E-4FE1-8D22-8A825A272403}" dt="2024-10-07T14:23:15.840" v="405" actId="47"/>
        <pc:sldMkLst>
          <pc:docMk/>
          <pc:sldMk cId="172578645" sldId="289"/>
        </pc:sldMkLst>
      </pc:sldChg>
      <pc:sldChg chg="del">
        <pc:chgData name="Bernardo Lares" userId="c0b75bcc-c53b-4925-b19e-54b7afc94e15" providerId="ADAL" clId="{C15AA311-282E-4FE1-8D22-8A825A272403}" dt="2024-10-07T14:23:15.840" v="405" actId="47"/>
        <pc:sldMkLst>
          <pc:docMk/>
          <pc:sldMk cId="2901030437" sldId="290"/>
        </pc:sldMkLst>
      </pc:sldChg>
      <pc:sldChg chg="del">
        <pc:chgData name="Bernardo Lares" userId="c0b75bcc-c53b-4925-b19e-54b7afc94e15" providerId="ADAL" clId="{C15AA311-282E-4FE1-8D22-8A825A272403}" dt="2024-10-07T14:23:15.840" v="405" actId="47"/>
        <pc:sldMkLst>
          <pc:docMk/>
          <pc:sldMk cId="4183249202" sldId="291"/>
        </pc:sldMkLst>
      </pc:sldChg>
      <pc:sldChg chg="del">
        <pc:chgData name="Bernardo Lares" userId="c0b75bcc-c53b-4925-b19e-54b7afc94e15" providerId="ADAL" clId="{C15AA311-282E-4FE1-8D22-8A825A272403}" dt="2024-10-07T14:23:15.840" v="405" actId="47"/>
        <pc:sldMkLst>
          <pc:docMk/>
          <pc:sldMk cId="3245747466" sldId="292"/>
        </pc:sldMkLst>
      </pc:sldChg>
      <pc:sldChg chg="del">
        <pc:chgData name="Bernardo Lares" userId="c0b75bcc-c53b-4925-b19e-54b7afc94e15" providerId="ADAL" clId="{C15AA311-282E-4FE1-8D22-8A825A272403}" dt="2024-10-07T14:23:15.840" v="405" actId="47"/>
        <pc:sldMkLst>
          <pc:docMk/>
          <pc:sldMk cId="2726513751" sldId="294"/>
        </pc:sldMkLst>
      </pc:sldChg>
      <pc:sldChg chg="del">
        <pc:chgData name="Bernardo Lares" userId="c0b75bcc-c53b-4925-b19e-54b7afc94e15" providerId="ADAL" clId="{C15AA311-282E-4FE1-8D22-8A825A272403}" dt="2024-10-07T14:23:15.840" v="405" actId="47"/>
        <pc:sldMkLst>
          <pc:docMk/>
          <pc:sldMk cId="2864772066" sldId="295"/>
        </pc:sldMkLst>
      </pc:sldChg>
      <pc:sldChg chg="del">
        <pc:chgData name="Bernardo Lares" userId="c0b75bcc-c53b-4925-b19e-54b7afc94e15" providerId="ADAL" clId="{C15AA311-282E-4FE1-8D22-8A825A272403}" dt="2024-10-07T14:23:15.840" v="405" actId="47"/>
        <pc:sldMkLst>
          <pc:docMk/>
          <pc:sldMk cId="3135415236" sldId="298"/>
        </pc:sldMkLst>
      </pc:sldChg>
      <pc:sldChg chg="del">
        <pc:chgData name="Bernardo Lares" userId="c0b75bcc-c53b-4925-b19e-54b7afc94e15" providerId="ADAL" clId="{C15AA311-282E-4FE1-8D22-8A825A272403}" dt="2024-10-07T14:23:15.840" v="405" actId="47"/>
        <pc:sldMkLst>
          <pc:docMk/>
          <pc:sldMk cId="496824642" sldId="299"/>
        </pc:sldMkLst>
      </pc:sldChg>
      <pc:sldChg chg="del">
        <pc:chgData name="Bernardo Lares" userId="c0b75bcc-c53b-4925-b19e-54b7afc94e15" providerId="ADAL" clId="{C15AA311-282E-4FE1-8D22-8A825A272403}" dt="2024-10-07T14:23:15.840" v="405" actId="47"/>
        <pc:sldMkLst>
          <pc:docMk/>
          <pc:sldMk cId="4109918980" sldId="300"/>
        </pc:sldMkLst>
      </pc:sldChg>
      <pc:sldChg chg="del">
        <pc:chgData name="Bernardo Lares" userId="c0b75bcc-c53b-4925-b19e-54b7afc94e15" providerId="ADAL" clId="{C15AA311-282E-4FE1-8D22-8A825A272403}" dt="2024-10-07T14:23:15.840" v="405" actId="47"/>
        <pc:sldMkLst>
          <pc:docMk/>
          <pc:sldMk cId="240477995" sldId="301"/>
        </pc:sldMkLst>
      </pc:sldChg>
      <pc:sldChg chg="del">
        <pc:chgData name="Bernardo Lares" userId="c0b75bcc-c53b-4925-b19e-54b7afc94e15" providerId="ADAL" clId="{C15AA311-282E-4FE1-8D22-8A825A272403}" dt="2024-10-07T14:23:15.840" v="405" actId="47"/>
        <pc:sldMkLst>
          <pc:docMk/>
          <pc:sldMk cId="4286469265" sldId="302"/>
        </pc:sldMkLst>
      </pc:sldChg>
      <pc:sldChg chg="del">
        <pc:chgData name="Bernardo Lares" userId="c0b75bcc-c53b-4925-b19e-54b7afc94e15" providerId="ADAL" clId="{C15AA311-282E-4FE1-8D22-8A825A272403}" dt="2024-10-07T14:23:15.840" v="405" actId="47"/>
        <pc:sldMkLst>
          <pc:docMk/>
          <pc:sldMk cId="1478149319" sldId="303"/>
        </pc:sldMkLst>
      </pc:sldChg>
      <pc:sldChg chg="del">
        <pc:chgData name="Bernardo Lares" userId="c0b75bcc-c53b-4925-b19e-54b7afc94e15" providerId="ADAL" clId="{C15AA311-282E-4FE1-8D22-8A825A272403}" dt="2024-10-07T14:23:15.840" v="405" actId="47"/>
        <pc:sldMkLst>
          <pc:docMk/>
          <pc:sldMk cId="2479321336" sldId="304"/>
        </pc:sldMkLst>
      </pc:sldChg>
      <pc:sldChg chg="del">
        <pc:chgData name="Bernardo Lares" userId="c0b75bcc-c53b-4925-b19e-54b7afc94e15" providerId="ADAL" clId="{C15AA311-282E-4FE1-8D22-8A825A272403}" dt="2024-10-07T14:23:15.840" v="405" actId="47"/>
        <pc:sldMkLst>
          <pc:docMk/>
          <pc:sldMk cId="3290292841" sldId="305"/>
        </pc:sldMkLst>
      </pc:sldChg>
      <pc:sldChg chg="del">
        <pc:chgData name="Bernardo Lares" userId="c0b75bcc-c53b-4925-b19e-54b7afc94e15" providerId="ADAL" clId="{C15AA311-282E-4FE1-8D22-8A825A272403}" dt="2024-10-07T14:23:15.840" v="405" actId="47"/>
        <pc:sldMkLst>
          <pc:docMk/>
          <pc:sldMk cId="1393503643" sldId="306"/>
        </pc:sldMkLst>
      </pc:sldChg>
      <pc:sldChg chg="del">
        <pc:chgData name="Bernardo Lares" userId="c0b75bcc-c53b-4925-b19e-54b7afc94e15" providerId="ADAL" clId="{C15AA311-282E-4FE1-8D22-8A825A272403}" dt="2024-10-07T14:23:15.840" v="405" actId="47"/>
        <pc:sldMkLst>
          <pc:docMk/>
          <pc:sldMk cId="15510042" sldId="307"/>
        </pc:sldMkLst>
      </pc:sldChg>
      <pc:sldChg chg="del">
        <pc:chgData name="Bernardo Lares" userId="c0b75bcc-c53b-4925-b19e-54b7afc94e15" providerId="ADAL" clId="{C15AA311-282E-4FE1-8D22-8A825A272403}" dt="2024-10-07T14:23:15.840" v="405" actId="47"/>
        <pc:sldMkLst>
          <pc:docMk/>
          <pc:sldMk cId="780129506" sldId="308"/>
        </pc:sldMkLst>
      </pc:sldChg>
      <pc:sldChg chg="del">
        <pc:chgData name="Bernardo Lares" userId="c0b75bcc-c53b-4925-b19e-54b7afc94e15" providerId="ADAL" clId="{C15AA311-282E-4FE1-8D22-8A825A272403}" dt="2024-10-07T14:23:15.840" v="405" actId="47"/>
        <pc:sldMkLst>
          <pc:docMk/>
          <pc:sldMk cId="2645736885" sldId="309"/>
        </pc:sldMkLst>
      </pc:sldChg>
      <pc:sldChg chg="del">
        <pc:chgData name="Bernardo Lares" userId="c0b75bcc-c53b-4925-b19e-54b7afc94e15" providerId="ADAL" clId="{C15AA311-282E-4FE1-8D22-8A825A272403}" dt="2024-10-07T14:23:15.840" v="405" actId="47"/>
        <pc:sldMkLst>
          <pc:docMk/>
          <pc:sldMk cId="1854778887" sldId="310"/>
        </pc:sldMkLst>
      </pc:sldChg>
      <pc:sldChg chg="del">
        <pc:chgData name="Bernardo Lares" userId="c0b75bcc-c53b-4925-b19e-54b7afc94e15" providerId="ADAL" clId="{C15AA311-282E-4FE1-8D22-8A825A272403}" dt="2024-10-07T14:23:15.840" v="405" actId="47"/>
        <pc:sldMkLst>
          <pc:docMk/>
          <pc:sldMk cId="1236607591" sldId="311"/>
        </pc:sldMkLst>
      </pc:sldChg>
      <pc:sldChg chg="del">
        <pc:chgData name="Bernardo Lares" userId="c0b75bcc-c53b-4925-b19e-54b7afc94e15" providerId="ADAL" clId="{C15AA311-282E-4FE1-8D22-8A825A272403}" dt="2024-10-07T14:23:15.840" v="405" actId="47"/>
        <pc:sldMkLst>
          <pc:docMk/>
          <pc:sldMk cId="3913207202" sldId="312"/>
        </pc:sldMkLst>
      </pc:sldChg>
      <pc:sldChg chg="del">
        <pc:chgData name="Bernardo Lares" userId="c0b75bcc-c53b-4925-b19e-54b7afc94e15" providerId="ADAL" clId="{C15AA311-282E-4FE1-8D22-8A825A272403}" dt="2024-10-07T14:23:15.840" v="405" actId="47"/>
        <pc:sldMkLst>
          <pc:docMk/>
          <pc:sldMk cId="1125010793" sldId="314"/>
        </pc:sldMkLst>
      </pc:sldChg>
      <pc:sldChg chg="del">
        <pc:chgData name="Bernardo Lares" userId="c0b75bcc-c53b-4925-b19e-54b7afc94e15" providerId="ADAL" clId="{C15AA311-282E-4FE1-8D22-8A825A272403}" dt="2024-10-07T14:23:15.840" v="405" actId="47"/>
        <pc:sldMkLst>
          <pc:docMk/>
          <pc:sldMk cId="2321685201" sldId="315"/>
        </pc:sldMkLst>
      </pc:sldChg>
      <pc:sldChg chg="del">
        <pc:chgData name="Bernardo Lares" userId="c0b75bcc-c53b-4925-b19e-54b7afc94e15" providerId="ADAL" clId="{C15AA311-282E-4FE1-8D22-8A825A272403}" dt="2024-10-07T14:23:15.840" v="405" actId="47"/>
        <pc:sldMkLst>
          <pc:docMk/>
          <pc:sldMk cId="3437119173" sldId="319"/>
        </pc:sldMkLst>
      </pc:sldChg>
      <pc:sldChg chg="del">
        <pc:chgData name="Bernardo Lares" userId="c0b75bcc-c53b-4925-b19e-54b7afc94e15" providerId="ADAL" clId="{C15AA311-282E-4FE1-8D22-8A825A272403}" dt="2024-10-07T14:23:15.840" v="405" actId="47"/>
        <pc:sldMkLst>
          <pc:docMk/>
          <pc:sldMk cId="1263921592" sldId="320"/>
        </pc:sldMkLst>
      </pc:sldChg>
      <pc:sldChg chg="del">
        <pc:chgData name="Bernardo Lares" userId="c0b75bcc-c53b-4925-b19e-54b7afc94e15" providerId="ADAL" clId="{C15AA311-282E-4FE1-8D22-8A825A272403}" dt="2024-10-07T14:23:15.840" v="405" actId="47"/>
        <pc:sldMkLst>
          <pc:docMk/>
          <pc:sldMk cId="3719493503" sldId="323"/>
        </pc:sldMkLst>
      </pc:sldChg>
      <pc:sldChg chg="del">
        <pc:chgData name="Bernardo Lares" userId="c0b75bcc-c53b-4925-b19e-54b7afc94e15" providerId="ADAL" clId="{C15AA311-282E-4FE1-8D22-8A825A272403}" dt="2024-10-07T14:23:15.840" v="405" actId="47"/>
        <pc:sldMkLst>
          <pc:docMk/>
          <pc:sldMk cId="3805280643" sldId="324"/>
        </pc:sldMkLst>
      </pc:sldChg>
      <pc:sldChg chg="del">
        <pc:chgData name="Bernardo Lares" userId="c0b75bcc-c53b-4925-b19e-54b7afc94e15" providerId="ADAL" clId="{C15AA311-282E-4FE1-8D22-8A825A272403}" dt="2024-10-07T14:23:15.840" v="405" actId="47"/>
        <pc:sldMkLst>
          <pc:docMk/>
          <pc:sldMk cId="4057462330" sldId="327"/>
        </pc:sldMkLst>
      </pc:sldChg>
      <pc:sldChg chg="del">
        <pc:chgData name="Bernardo Lares" userId="c0b75bcc-c53b-4925-b19e-54b7afc94e15" providerId="ADAL" clId="{C15AA311-282E-4FE1-8D22-8A825A272403}" dt="2024-10-07T14:23:15.840" v="405" actId="47"/>
        <pc:sldMkLst>
          <pc:docMk/>
          <pc:sldMk cId="3376384274" sldId="331"/>
        </pc:sldMkLst>
      </pc:sldChg>
      <pc:sldChg chg="del">
        <pc:chgData name="Bernardo Lares" userId="c0b75bcc-c53b-4925-b19e-54b7afc94e15" providerId="ADAL" clId="{C15AA311-282E-4FE1-8D22-8A825A272403}" dt="2024-10-07T14:23:15.840" v="405" actId="47"/>
        <pc:sldMkLst>
          <pc:docMk/>
          <pc:sldMk cId="2145976921" sldId="332"/>
        </pc:sldMkLst>
      </pc:sldChg>
      <pc:sldChg chg="del">
        <pc:chgData name="Bernardo Lares" userId="c0b75bcc-c53b-4925-b19e-54b7afc94e15" providerId="ADAL" clId="{C15AA311-282E-4FE1-8D22-8A825A272403}" dt="2024-10-07T14:23:15.840" v="405" actId="47"/>
        <pc:sldMkLst>
          <pc:docMk/>
          <pc:sldMk cId="965655499" sldId="334"/>
        </pc:sldMkLst>
      </pc:sldChg>
      <pc:sldChg chg="del">
        <pc:chgData name="Bernardo Lares" userId="c0b75bcc-c53b-4925-b19e-54b7afc94e15" providerId="ADAL" clId="{C15AA311-282E-4FE1-8D22-8A825A272403}" dt="2024-10-07T14:23:15.840" v="405" actId="47"/>
        <pc:sldMkLst>
          <pc:docMk/>
          <pc:sldMk cId="1882158007" sldId="335"/>
        </pc:sldMkLst>
      </pc:sldChg>
      <pc:sldChg chg="del">
        <pc:chgData name="Bernardo Lares" userId="c0b75bcc-c53b-4925-b19e-54b7afc94e15" providerId="ADAL" clId="{C15AA311-282E-4FE1-8D22-8A825A272403}" dt="2024-10-07T14:23:15.840" v="405" actId="47"/>
        <pc:sldMkLst>
          <pc:docMk/>
          <pc:sldMk cId="1748891009" sldId="337"/>
        </pc:sldMkLst>
      </pc:sldChg>
      <pc:sldChg chg="del">
        <pc:chgData name="Bernardo Lares" userId="c0b75bcc-c53b-4925-b19e-54b7afc94e15" providerId="ADAL" clId="{C15AA311-282E-4FE1-8D22-8A825A272403}" dt="2024-10-07T14:23:15.840" v="405" actId="47"/>
        <pc:sldMkLst>
          <pc:docMk/>
          <pc:sldMk cId="2712300298" sldId="340"/>
        </pc:sldMkLst>
      </pc:sldChg>
      <pc:sldChg chg="del">
        <pc:chgData name="Bernardo Lares" userId="c0b75bcc-c53b-4925-b19e-54b7afc94e15" providerId="ADAL" clId="{C15AA311-282E-4FE1-8D22-8A825A272403}" dt="2024-10-07T14:23:15.840" v="405" actId="47"/>
        <pc:sldMkLst>
          <pc:docMk/>
          <pc:sldMk cId="2830970478" sldId="348"/>
        </pc:sldMkLst>
      </pc:sldChg>
      <pc:sldChg chg="del">
        <pc:chgData name="Bernardo Lares" userId="c0b75bcc-c53b-4925-b19e-54b7afc94e15" providerId="ADAL" clId="{C15AA311-282E-4FE1-8D22-8A825A272403}" dt="2024-10-07T14:23:15.840" v="405" actId="47"/>
        <pc:sldMkLst>
          <pc:docMk/>
          <pc:sldMk cId="2880532832" sldId="349"/>
        </pc:sldMkLst>
      </pc:sldChg>
      <pc:sldChg chg="del">
        <pc:chgData name="Bernardo Lares" userId="c0b75bcc-c53b-4925-b19e-54b7afc94e15" providerId="ADAL" clId="{C15AA311-282E-4FE1-8D22-8A825A272403}" dt="2024-10-07T14:23:15.840" v="405" actId="47"/>
        <pc:sldMkLst>
          <pc:docMk/>
          <pc:sldMk cId="3957104048" sldId="350"/>
        </pc:sldMkLst>
      </pc:sldChg>
      <pc:sldChg chg="del">
        <pc:chgData name="Bernardo Lares" userId="c0b75bcc-c53b-4925-b19e-54b7afc94e15" providerId="ADAL" clId="{C15AA311-282E-4FE1-8D22-8A825A272403}" dt="2024-10-07T14:23:15.840" v="405" actId="47"/>
        <pc:sldMkLst>
          <pc:docMk/>
          <pc:sldMk cId="537040399" sldId="351"/>
        </pc:sldMkLst>
      </pc:sldChg>
      <pc:sldChg chg="del">
        <pc:chgData name="Bernardo Lares" userId="c0b75bcc-c53b-4925-b19e-54b7afc94e15" providerId="ADAL" clId="{C15AA311-282E-4FE1-8D22-8A825A272403}" dt="2024-10-07T14:23:15.840" v="405" actId="47"/>
        <pc:sldMkLst>
          <pc:docMk/>
          <pc:sldMk cId="2223098213" sldId="353"/>
        </pc:sldMkLst>
      </pc:sldChg>
      <pc:sldChg chg="del">
        <pc:chgData name="Bernardo Lares" userId="c0b75bcc-c53b-4925-b19e-54b7afc94e15" providerId="ADAL" clId="{C15AA311-282E-4FE1-8D22-8A825A272403}" dt="2024-10-07T14:23:15.840" v="405" actId="47"/>
        <pc:sldMkLst>
          <pc:docMk/>
          <pc:sldMk cId="1838716059" sldId="354"/>
        </pc:sldMkLst>
      </pc:sldChg>
      <pc:sldChg chg="del">
        <pc:chgData name="Bernardo Lares" userId="c0b75bcc-c53b-4925-b19e-54b7afc94e15" providerId="ADAL" clId="{C15AA311-282E-4FE1-8D22-8A825A272403}" dt="2024-10-07T14:23:15.840" v="405" actId="47"/>
        <pc:sldMkLst>
          <pc:docMk/>
          <pc:sldMk cId="2036090383" sldId="356"/>
        </pc:sldMkLst>
      </pc:sldChg>
      <pc:sldChg chg="del">
        <pc:chgData name="Bernardo Lares" userId="c0b75bcc-c53b-4925-b19e-54b7afc94e15" providerId="ADAL" clId="{C15AA311-282E-4FE1-8D22-8A825A272403}" dt="2024-10-07T14:23:15.840" v="405" actId="47"/>
        <pc:sldMkLst>
          <pc:docMk/>
          <pc:sldMk cId="3779871723" sldId="357"/>
        </pc:sldMkLst>
      </pc:sldChg>
      <pc:sldChg chg="del">
        <pc:chgData name="Bernardo Lares" userId="c0b75bcc-c53b-4925-b19e-54b7afc94e15" providerId="ADAL" clId="{C15AA311-282E-4FE1-8D22-8A825A272403}" dt="2024-10-07T14:23:15.840" v="405" actId="47"/>
        <pc:sldMkLst>
          <pc:docMk/>
          <pc:sldMk cId="3571089646" sldId="358"/>
        </pc:sldMkLst>
      </pc:sldChg>
      <pc:sldChg chg="del">
        <pc:chgData name="Bernardo Lares" userId="c0b75bcc-c53b-4925-b19e-54b7afc94e15" providerId="ADAL" clId="{C15AA311-282E-4FE1-8D22-8A825A272403}" dt="2024-10-07T14:23:15.840" v="405" actId="47"/>
        <pc:sldMkLst>
          <pc:docMk/>
          <pc:sldMk cId="3576851997" sldId="359"/>
        </pc:sldMkLst>
      </pc:sldChg>
      <pc:sldChg chg="del">
        <pc:chgData name="Bernardo Lares" userId="c0b75bcc-c53b-4925-b19e-54b7afc94e15" providerId="ADAL" clId="{C15AA311-282E-4FE1-8D22-8A825A272403}" dt="2024-10-07T14:23:15.840" v="405" actId="47"/>
        <pc:sldMkLst>
          <pc:docMk/>
          <pc:sldMk cId="1515334704" sldId="360"/>
        </pc:sldMkLst>
      </pc:sldChg>
      <pc:sldChg chg="del">
        <pc:chgData name="Bernardo Lares" userId="c0b75bcc-c53b-4925-b19e-54b7afc94e15" providerId="ADAL" clId="{C15AA311-282E-4FE1-8D22-8A825A272403}" dt="2024-10-07T14:23:15.840" v="405" actId="47"/>
        <pc:sldMkLst>
          <pc:docMk/>
          <pc:sldMk cId="3740100635" sldId="385"/>
        </pc:sldMkLst>
      </pc:sldChg>
      <pc:sldChg chg="del">
        <pc:chgData name="Bernardo Lares" userId="c0b75bcc-c53b-4925-b19e-54b7afc94e15" providerId="ADAL" clId="{C15AA311-282E-4FE1-8D22-8A825A272403}" dt="2024-10-07T14:23:15.840" v="405" actId="47"/>
        <pc:sldMkLst>
          <pc:docMk/>
          <pc:sldMk cId="501836946" sldId="386"/>
        </pc:sldMkLst>
      </pc:sldChg>
      <pc:sldChg chg="del">
        <pc:chgData name="Bernardo Lares" userId="c0b75bcc-c53b-4925-b19e-54b7afc94e15" providerId="ADAL" clId="{C15AA311-282E-4FE1-8D22-8A825A272403}" dt="2024-10-07T14:23:15.840" v="405" actId="47"/>
        <pc:sldMkLst>
          <pc:docMk/>
          <pc:sldMk cId="4281577830" sldId="387"/>
        </pc:sldMkLst>
      </pc:sldChg>
      <pc:sldChg chg="del">
        <pc:chgData name="Bernardo Lares" userId="c0b75bcc-c53b-4925-b19e-54b7afc94e15" providerId="ADAL" clId="{C15AA311-282E-4FE1-8D22-8A825A272403}" dt="2024-10-07T14:23:15.840" v="405" actId="47"/>
        <pc:sldMkLst>
          <pc:docMk/>
          <pc:sldMk cId="2852010624" sldId="388"/>
        </pc:sldMkLst>
      </pc:sldChg>
      <pc:sldChg chg="del">
        <pc:chgData name="Bernardo Lares" userId="c0b75bcc-c53b-4925-b19e-54b7afc94e15" providerId="ADAL" clId="{C15AA311-282E-4FE1-8D22-8A825A272403}" dt="2024-10-07T14:23:15.840" v="405" actId="47"/>
        <pc:sldMkLst>
          <pc:docMk/>
          <pc:sldMk cId="1772208645" sldId="389"/>
        </pc:sldMkLst>
      </pc:sldChg>
      <pc:sldChg chg="del">
        <pc:chgData name="Bernardo Lares" userId="c0b75bcc-c53b-4925-b19e-54b7afc94e15" providerId="ADAL" clId="{C15AA311-282E-4FE1-8D22-8A825A272403}" dt="2024-10-07T14:23:15.840" v="405" actId="47"/>
        <pc:sldMkLst>
          <pc:docMk/>
          <pc:sldMk cId="752766566" sldId="390"/>
        </pc:sldMkLst>
      </pc:sldChg>
      <pc:sldChg chg="del">
        <pc:chgData name="Bernardo Lares" userId="c0b75bcc-c53b-4925-b19e-54b7afc94e15" providerId="ADAL" clId="{C15AA311-282E-4FE1-8D22-8A825A272403}" dt="2024-10-07T14:23:15.840" v="405" actId="47"/>
        <pc:sldMkLst>
          <pc:docMk/>
          <pc:sldMk cId="391204577" sldId="391"/>
        </pc:sldMkLst>
      </pc:sldChg>
      <pc:sldChg chg="del">
        <pc:chgData name="Bernardo Lares" userId="c0b75bcc-c53b-4925-b19e-54b7afc94e15" providerId="ADAL" clId="{C15AA311-282E-4FE1-8D22-8A825A272403}" dt="2024-10-07T14:23:15.840" v="405" actId="47"/>
        <pc:sldMkLst>
          <pc:docMk/>
          <pc:sldMk cId="2768720373" sldId="399"/>
        </pc:sldMkLst>
      </pc:sldChg>
      <pc:sldChg chg="del">
        <pc:chgData name="Bernardo Lares" userId="c0b75bcc-c53b-4925-b19e-54b7afc94e15" providerId="ADAL" clId="{C15AA311-282E-4FE1-8D22-8A825A272403}" dt="2024-10-07T14:23:15.840" v="405" actId="47"/>
        <pc:sldMkLst>
          <pc:docMk/>
          <pc:sldMk cId="2549454360" sldId="400"/>
        </pc:sldMkLst>
      </pc:sldChg>
      <pc:sldMasterChg chg="modSp mod addSldLayout delSldLayout modSldLayout sldLayoutOrd">
        <pc:chgData name="Bernardo Lares" userId="c0b75bcc-c53b-4925-b19e-54b7afc94e15" providerId="ADAL" clId="{C15AA311-282E-4FE1-8D22-8A825A272403}" dt="2024-10-09T13:08:15.447" v="2248" actId="403"/>
        <pc:sldMasterMkLst>
          <pc:docMk/>
          <pc:sldMasterMk cId="3442277182" sldId="2147483788"/>
        </pc:sldMasterMkLst>
        <pc:spChg chg="mod">
          <ac:chgData name="Bernardo Lares" userId="c0b75bcc-c53b-4925-b19e-54b7afc94e15" providerId="ADAL" clId="{C15AA311-282E-4FE1-8D22-8A825A272403}" dt="2024-10-08T15:49:53.658" v="1965" actId="2711"/>
          <ac:spMkLst>
            <pc:docMk/>
            <pc:sldMasterMk cId="3442277182" sldId="2147483788"/>
            <ac:spMk id="4" creationId="{00000000-0000-0000-0000-000000000000}"/>
          </ac:spMkLst>
        </pc:spChg>
        <pc:spChg chg="mod">
          <ac:chgData name="Bernardo Lares" userId="c0b75bcc-c53b-4925-b19e-54b7afc94e15" providerId="ADAL" clId="{C15AA311-282E-4FE1-8D22-8A825A272403}" dt="2024-10-08T15:49:53.658" v="1965" actId="2711"/>
          <ac:spMkLst>
            <pc:docMk/>
            <pc:sldMasterMk cId="3442277182" sldId="2147483788"/>
            <ac:spMk id="5" creationId="{00000000-0000-0000-0000-000000000000}"/>
          </ac:spMkLst>
        </pc:spChg>
        <pc:spChg chg="mod">
          <ac:chgData name="Bernardo Lares" userId="c0b75bcc-c53b-4925-b19e-54b7afc94e15" providerId="ADAL" clId="{C15AA311-282E-4FE1-8D22-8A825A272403}" dt="2024-10-08T15:49:53.658" v="1965" actId="2711"/>
          <ac:spMkLst>
            <pc:docMk/>
            <pc:sldMasterMk cId="3442277182" sldId="2147483788"/>
            <ac:spMk id="6" creationId="{00000000-0000-0000-0000-000000000000}"/>
          </ac:spMkLst>
        </pc:spChg>
        <pc:spChg chg="mod">
          <ac:chgData name="Bernardo Lares" userId="c0b75bcc-c53b-4925-b19e-54b7afc94e15" providerId="ADAL" clId="{C15AA311-282E-4FE1-8D22-8A825A272403}" dt="2024-10-08T15:49:53.658" v="1965" actId="2711"/>
          <ac:spMkLst>
            <pc:docMk/>
            <pc:sldMasterMk cId="3442277182" sldId="2147483788"/>
            <ac:spMk id="7" creationId="{00000000-0000-0000-0000-000000000000}"/>
          </ac:spMkLst>
        </pc:spChg>
        <pc:spChg chg="mod">
          <ac:chgData name="Bernardo Lares" userId="c0b75bcc-c53b-4925-b19e-54b7afc94e15" providerId="ADAL" clId="{C15AA311-282E-4FE1-8D22-8A825A272403}" dt="2024-10-08T15:49:53.658" v="1965" actId="2711"/>
          <ac:spMkLst>
            <pc:docMk/>
            <pc:sldMasterMk cId="3442277182" sldId="2147483788"/>
            <ac:spMk id="8" creationId="{BBC2AD35-7761-4742-BEF1-3D0CAD2E1DED}"/>
          </ac:spMkLst>
        </pc:spChg>
        <pc:picChg chg="mod">
          <ac:chgData name="Bernardo Lares" userId="c0b75bcc-c53b-4925-b19e-54b7afc94e15" providerId="ADAL" clId="{C15AA311-282E-4FE1-8D22-8A825A272403}" dt="2024-10-08T15:49:53.658" v="1965" actId="2711"/>
          <ac:picMkLst>
            <pc:docMk/>
            <pc:sldMasterMk cId="3442277182" sldId="2147483788"/>
            <ac:picMk id="12" creationId="{58C80CD2-B978-9AC4-69DD-2B943D62C515}"/>
          </ac:picMkLst>
        </pc:picChg>
        <pc:sldLayoutChg chg="addSp delSp modSp mod">
          <pc:chgData name="Bernardo Lares" userId="c0b75bcc-c53b-4925-b19e-54b7afc94e15" providerId="ADAL" clId="{C15AA311-282E-4FE1-8D22-8A825A272403}" dt="2024-10-07T15:00:57.211" v="815" actId="20577"/>
          <pc:sldLayoutMkLst>
            <pc:docMk/>
            <pc:sldMasterMk cId="3442277182" sldId="2147483788"/>
            <pc:sldLayoutMk cId="2872251708" sldId="2147483789"/>
          </pc:sldLayoutMkLst>
          <pc:spChg chg="add del mod modVis">
            <ac:chgData name="Bernardo Lares" userId="c0b75bcc-c53b-4925-b19e-54b7afc94e15" providerId="ADAL" clId="{C15AA311-282E-4FE1-8D22-8A825A272403}" dt="2024-10-07T14:34:14.326" v="432"/>
            <ac:spMkLst>
              <pc:docMk/>
              <pc:sldMasterMk cId="3442277182" sldId="2147483788"/>
              <pc:sldLayoutMk cId="2872251708" sldId="2147483789"/>
              <ac:spMk id="2" creationId="{C2FC6E83-B476-0622-1E7E-0C2D1073DBF6}"/>
            </ac:spMkLst>
          </pc:spChg>
          <pc:spChg chg="add del mod modVis">
            <ac:chgData name="Bernardo Lares" userId="c0b75bcc-c53b-4925-b19e-54b7afc94e15" providerId="ADAL" clId="{C15AA311-282E-4FE1-8D22-8A825A272403}" dt="2024-10-07T15:00:46.347" v="748"/>
            <ac:spMkLst>
              <pc:docMk/>
              <pc:sldMasterMk cId="3442277182" sldId="2147483788"/>
              <pc:sldLayoutMk cId="2872251708" sldId="2147483789"/>
              <ac:spMk id="2" creationId="{E1D7E14B-CD2D-CA3B-FD9A-DFDBF38E8591}"/>
            </ac:spMkLst>
          </pc:spChg>
          <pc:spChg chg="add mod">
            <ac:chgData name="Bernardo Lares" userId="c0b75bcc-c53b-4925-b19e-54b7afc94e15" providerId="ADAL" clId="{C15AA311-282E-4FE1-8D22-8A825A272403}" dt="2024-10-07T14:07:46.666" v="207" actId="12"/>
            <ac:spMkLst>
              <pc:docMk/>
              <pc:sldMasterMk cId="3442277182" sldId="2147483788"/>
              <pc:sldLayoutMk cId="2872251708" sldId="2147483789"/>
              <ac:spMk id="11" creationId="{E3F42345-CCFC-E059-03DA-F397DED86EBE}"/>
            </ac:spMkLst>
          </pc:spChg>
          <pc:spChg chg="add mod">
            <ac:chgData name="Bernardo Lares" userId="c0b75bcc-c53b-4925-b19e-54b7afc94e15" providerId="ADAL" clId="{C15AA311-282E-4FE1-8D22-8A825A272403}" dt="2024-10-07T14:07:46.666" v="207" actId="12"/>
            <ac:spMkLst>
              <pc:docMk/>
              <pc:sldMasterMk cId="3442277182" sldId="2147483788"/>
              <pc:sldLayoutMk cId="2872251708" sldId="2147483789"/>
              <ac:spMk id="12" creationId="{5D029F58-8663-7EC8-72E4-82776A4FBDEC}"/>
            </ac:spMkLst>
          </pc:spChg>
          <pc:spChg chg="add mod">
            <ac:chgData name="Bernardo Lares" userId="c0b75bcc-c53b-4925-b19e-54b7afc94e15" providerId="ADAL" clId="{C15AA311-282E-4FE1-8D22-8A825A272403}" dt="2024-10-07T14:07:46.666" v="207" actId="12"/>
            <ac:spMkLst>
              <pc:docMk/>
              <pc:sldMasterMk cId="3442277182" sldId="2147483788"/>
              <pc:sldLayoutMk cId="2872251708" sldId="2147483789"/>
              <ac:spMk id="13" creationId="{FE5BEE8E-864D-B17B-26F8-D09E31D9E7CC}"/>
            </ac:spMkLst>
          </pc:spChg>
          <pc:spChg chg="add del mod modVis">
            <ac:chgData name="Bernardo Lares" userId="c0b75bcc-c53b-4925-b19e-54b7afc94e15" providerId="ADAL" clId="{C15AA311-282E-4FE1-8D22-8A825A272403}" dt="2024-10-07T14:07:54.021" v="237"/>
            <ac:spMkLst>
              <pc:docMk/>
              <pc:sldMasterMk cId="3442277182" sldId="2147483788"/>
              <pc:sldLayoutMk cId="2872251708" sldId="2147483789"/>
              <ac:spMk id="14" creationId="{26C6B668-C2A6-4F59-50EA-F59B2EB26BE0}"/>
            </ac:spMkLst>
          </pc:spChg>
          <pc:spChg chg="add del mod modVis">
            <ac:chgData name="Bernardo Lares" userId="c0b75bcc-c53b-4925-b19e-54b7afc94e15" providerId="ADAL" clId="{C15AA311-282E-4FE1-8D22-8A825A272403}" dt="2024-10-07T15:00:52.528" v="779"/>
            <ac:spMkLst>
              <pc:docMk/>
              <pc:sldMasterMk cId="3442277182" sldId="2147483788"/>
              <pc:sldLayoutMk cId="2872251708" sldId="2147483789"/>
              <ac:spMk id="14" creationId="{B5156438-65E9-55C7-4F16-4F75F27EEE2B}"/>
            </ac:spMkLst>
          </pc:spChg>
          <pc:spChg chg="add del mod modVis">
            <ac:chgData name="Bernardo Lares" userId="c0b75bcc-c53b-4925-b19e-54b7afc94e15" providerId="ADAL" clId="{C15AA311-282E-4FE1-8D22-8A825A272403}" dt="2024-10-07T14:07:56.358" v="278"/>
            <ac:spMkLst>
              <pc:docMk/>
              <pc:sldMasterMk cId="3442277182" sldId="2147483788"/>
              <pc:sldLayoutMk cId="2872251708" sldId="2147483789"/>
              <ac:spMk id="15" creationId="{7744313F-62AC-C03B-B40E-D45B4FCFEE9F}"/>
            </ac:spMkLst>
          </pc:spChg>
          <pc:spChg chg="add del mod modVis">
            <ac:chgData name="Bernardo Lares" userId="c0b75bcc-c53b-4925-b19e-54b7afc94e15" providerId="ADAL" clId="{C15AA311-282E-4FE1-8D22-8A825A272403}" dt="2024-10-07T15:00:53.890" v="808"/>
            <ac:spMkLst>
              <pc:docMk/>
              <pc:sldMasterMk cId="3442277182" sldId="2147483788"/>
              <pc:sldLayoutMk cId="2872251708" sldId="2147483789"/>
              <ac:spMk id="15" creationId="{FAE3B231-BBB6-E2F8-A8CB-4EE9D159AE00}"/>
            </ac:spMkLst>
          </pc:spChg>
          <pc:spChg chg="mod">
            <ac:chgData name="Bernardo Lares" userId="c0b75bcc-c53b-4925-b19e-54b7afc94e15" providerId="ADAL" clId="{C15AA311-282E-4FE1-8D22-8A825A272403}" dt="2024-10-07T15:00:53.864" v="785" actId="948"/>
            <ac:spMkLst>
              <pc:docMk/>
              <pc:sldMasterMk cId="3442277182" sldId="2147483788"/>
              <pc:sldLayoutMk cId="2872251708" sldId="2147483789"/>
              <ac:spMk id="17" creationId="{00000000-0000-0000-0000-000000000000}"/>
            </ac:spMkLst>
          </pc:spChg>
          <pc:spChg chg="mod">
            <ac:chgData name="Bernardo Lares" userId="c0b75bcc-c53b-4925-b19e-54b7afc94e15" providerId="ADAL" clId="{C15AA311-282E-4FE1-8D22-8A825A272403}" dt="2024-10-07T15:00:57.211" v="815" actId="20577"/>
            <ac:spMkLst>
              <pc:docMk/>
              <pc:sldMasterMk cId="3442277182" sldId="2147483788"/>
              <pc:sldLayoutMk cId="2872251708" sldId="2147483789"/>
              <ac:spMk id="20" creationId="{00000000-0000-0000-0000-000000000000}"/>
            </ac:spMkLst>
          </pc:spChg>
          <pc:graphicFrameChg chg="del">
            <ac:chgData name="Bernardo Lares" userId="c0b75bcc-c53b-4925-b19e-54b7afc94e15" providerId="ADAL" clId="{C15AA311-282E-4FE1-8D22-8A825A272403}" dt="2024-10-07T14:07:54.021" v="235"/>
            <ac:graphicFrameMkLst>
              <pc:docMk/>
              <pc:sldMasterMk cId="3442277182" sldId="2147483788"/>
              <pc:sldLayoutMk cId="2872251708" sldId="2147483789"/>
              <ac:graphicFrameMk id="2" creationId="{9BE730EF-2ADF-F2EE-3385-DFE2929A2F21}"/>
            </ac:graphicFrameMkLst>
          </pc:graphicFrameChg>
          <pc:graphicFrameChg chg="mod">
            <ac:chgData name="Bernardo Lares" userId="c0b75bcc-c53b-4925-b19e-54b7afc94e15" providerId="ADAL" clId="{C15AA311-282E-4FE1-8D22-8A825A272403}" dt="2024-10-07T15:00:53.891" v="810"/>
            <ac:graphicFrameMkLst>
              <pc:docMk/>
              <pc:sldMasterMk cId="3442277182" sldId="2147483788"/>
              <pc:sldLayoutMk cId="2872251708" sldId="2147483789"/>
              <ac:graphicFrameMk id="3" creationId="{C2892896-0027-443A-D01E-0CE282B3A5CC}"/>
            </ac:graphicFrameMkLst>
          </pc:graphicFrameChg>
          <pc:picChg chg="add mod">
            <ac:chgData name="Bernardo Lares" userId="c0b75bcc-c53b-4925-b19e-54b7afc94e15" providerId="ADAL" clId="{C15AA311-282E-4FE1-8D22-8A825A272403}" dt="2024-10-07T14:08:26.718" v="303" actId="1076"/>
            <ac:picMkLst>
              <pc:docMk/>
              <pc:sldMasterMk cId="3442277182" sldId="2147483788"/>
              <pc:sldLayoutMk cId="2872251708" sldId="2147483789"/>
              <ac:picMk id="16" creationId="{E7B52A56-94DC-7DAE-C132-75E89BD5BEE3}"/>
            </ac:picMkLst>
          </pc:picChg>
        </pc:sldLayoutChg>
        <pc:sldLayoutChg chg="del">
          <pc:chgData name="Bernardo Lares" userId="c0b75bcc-c53b-4925-b19e-54b7afc94e15" providerId="ADAL" clId="{C15AA311-282E-4FE1-8D22-8A825A272403}" dt="2024-10-08T16:25:43.647" v="1991" actId="2696"/>
          <pc:sldLayoutMkLst>
            <pc:docMk/>
            <pc:sldMasterMk cId="3442277182" sldId="2147483788"/>
            <pc:sldLayoutMk cId="1429674926" sldId="2147483790"/>
          </pc:sldLayoutMkLst>
        </pc:sldLayoutChg>
        <pc:sldLayoutChg chg="del">
          <pc:chgData name="Bernardo Lares" userId="c0b75bcc-c53b-4925-b19e-54b7afc94e15" providerId="ADAL" clId="{C15AA311-282E-4FE1-8D22-8A825A272403}" dt="2024-10-08T16:25:45.218" v="1992" actId="2696"/>
          <pc:sldLayoutMkLst>
            <pc:docMk/>
            <pc:sldMasterMk cId="3442277182" sldId="2147483788"/>
            <pc:sldLayoutMk cId="155051740" sldId="2147483791"/>
          </pc:sldLayoutMkLst>
        </pc:sldLayoutChg>
        <pc:sldLayoutChg chg="del">
          <pc:chgData name="Bernardo Lares" userId="c0b75bcc-c53b-4925-b19e-54b7afc94e15" providerId="ADAL" clId="{C15AA311-282E-4FE1-8D22-8A825A272403}" dt="2024-10-08T16:25:47.213" v="1993" actId="2696"/>
          <pc:sldLayoutMkLst>
            <pc:docMk/>
            <pc:sldMasterMk cId="3442277182" sldId="2147483788"/>
            <pc:sldLayoutMk cId="1730399174" sldId="2147483792"/>
          </pc:sldLayoutMkLst>
        </pc:sldLayoutChg>
        <pc:sldLayoutChg chg="addSp delSp modSp mod ord">
          <pc:chgData name="Bernardo Lares" userId="c0b75bcc-c53b-4925-b19e-54b7afc94e15" providerId="ADAL" clId="{C15AA311-282E-4FE1-8D22-8A825A272403}" dt="2024-10-08T15:25:46.999" v="1925" actId="20578"/>
          <pc:sldLayoutMkLst>
            <pc:docMk/>
            <pc:sldMasterMk cId="3442277182" sldId="2147483788"/>
            <pc:sldLayoutMk cId="4083270127" sldId="2147483794"/>
          </pc:sldLayoutMkLst>
          <pc:spChg chg="add del mod modVis">
            <ac:chgData name="Bernardo Lares" userId="c0b75bcc-c53b-4925-b19e-54b7afc94e15" providerId="ADAL" clId="{C15AA311-282E-4FE1-8D22-8A825A272403}" dt="2024-10-07T14:35:58.602" v="462"/>
            <ac:spMkLst>
              <pc:docMk/>
              <pc:sldMasterMk cId="3442277182" sldId="2147483788"/>
              <pc:sldLayoutMk cId="4083270127" sldId="2147483794"/>
              <ac:spMk id="4" creationId="{4E6BEE21-5E69-9116-120F-E25BE27347F5}"/>
            </ac:spMkLst>
          </pc:spChg>
          <pc:spChg chg="add del mod modVis">
            <ac:chgData name="Bernardo Lares" userId="c0b75bcc-c53b-4925-b19e-54b7afc94e15" providerId="ADAL" clId="{C15AA311-282E-4FE1-8D22-8A825A272403}" dt="2024-10-07T15:00:23.395" v="716"/>
            <ac:spMkLst>
              <pc:docMk/>
              <pc:sldMasterMk cId="3442277182" sldId="2147483788"/>
              <pc:sldLayoutMk cId="4083270127" sldId="2147483794"/>
              <ac:spMk id="4" creationId="{A993EE60-9A35-3F12-B144-828858860F07}"/>
            </ac:spMkLst>
          </pc:spChg>
          <pc:spChg chg="mod">
            <ac:chgData name="Bernardo Lares" userId="c0b75bcc-c53b-4925-b19e-54b7afc94e15" providerId="ADAL" clId="{C15AA311-282E-4FE1-8D22-8A825A272403}" dt="2024-10-07T15:00:23.344" v="693" actId="948"/>
            <ac:spMkLst>
              <pc:docMk/>
              <pc:sldMasterMk cId="3442277182" sldId="2147483788"/>
              <pc:sldLayoutMk cId="4083270127" sldId="2147483794"/>
              <ac:spMk id="12" creationId="{88C0D48C-007D-FEEC-D1DF-C00891876F0F}"/>
            </ac:spMkLst>
          </pc:spChg>
          <pc:spChg chg="mod">
            <ac:chgData name="Bernardo Lares" userId="c0b75bcc-c53b-4925-b19e-54b7afc94e15" providerId="ADAL" clId="{C15AA311-282E-4FE1-8D22-8A825A272403}" dt="2024-10-07T15:00:33.833" v="723" actId="113"/>
            <ac:spMkLst>
              <pc:docMk/>
              <pc:sldMasterMk cId="3442277182" sldId="2147483788"/>
              <pc:sldLayoutMk cId="4083270127" sldId="2147483794"/>
              <ac:spMk id="13" creationId="{1F6E4BF1-5B10-6CC3-60CB-FA773CAB8AF3}"/>
            </ac:spMkLst>
          </pc:spChg>
          <pc:spChg chg="mod">
            <ac:chgData name="Bernardo Lares" userId="c0b75bcc-c53b-4925-b19e-54b7afc94e15" providerId="ADAL" clId="{C15AA311-282E-4FE1-8D22-8A825A272403}" dt="2024-10-07T15:00:30.700" v="721" actId="113"/>
            <ac:spMkLst>
              <pc:docMk/>
              <pc:sldMasterMk cId="3442277182" sldId="2147483788"/>
              <pc:sldLayoutMk cId="4083270127" sldId="2147483794"/>
              <ac:spMk id="18" creationId="{0DD48070-D695-60C2-898C-9832D9369B0C}"/>
            </ac:spMkLst>
          </pc:spChg>
          <pc:graphicFrameChg chg="add mod ord modVis replST">
            <ac:chgData name="Bernardo Lares" userId="c0b75bcc-c53b-4925-b19e-54b7afc94e15" providerId="ADAL" clId="{C15AA311-282E-4FE1-8D22-8A825A272403}" dt="2024-10-07T15:00:23.397" v="718"/>
            <ac:graphicFrameMkLst>
              <pc:docMk/>
              <pc:sldMasterMk cId="3442277182" sldId="2147483788"/>
              <pc:sldLayoutMk cId="4083270127" sldId="2147483794"/>
              <ac:graphicFrameMk id="7" creationId="{E5C8471B-83F4-81DE-6C65-42BBC31F091E}"/>
            </ac:graphicFrameMkLst>
          </pc:graphicFrameChg>
        </pc:sldLayoutChg>
        <pc:sldLayoutChg chg="addSp delSp modSp mod ord">
          <pc:chgData name="Bernardo Lares" userId="c0b75bcc-c53b-4925-b19e-54b7afc94e15" providerId="ADAL" clId="{C15AA311-282E-4FE1-8D22-8A825A272403}" dt="2024-10-09T08:15:32.183" v="2193" actId="20577"/>
          <pc:sldLayoutMkLst>
            <pc:docMk/>
            <pc:sldMasterMk cId="3442277182" sldId="2147483788"/>
            <pc:sldLayoutMk cId="3296186206" sldId="2147483795"/>
          </pc:sldLayoutMkLst>
          <pc:spChg chg="mod">
            <ac:chgData name="Bernardo Lares" userId="c0b75bcc-c53b-4925-b19e-54b7afc94e15" providerId="ADAL" clId="{C15AA311-282E-4FE1-8D22-8A825A272403}" dt="2024-10-08T12:25:55.912" v="1044" actId="2711"/>
            <ac:spMkLst>
              <pc:docMk/>
              <pc:sldMasterMk cId="3442277182" sldId="2147483788"/>
              <pc:sldLayoutMk cId="3296186206" sldId="2147483795"/>
              <ac:spMk id="2" creationId="{2E151742-951B-4B8B-93F8-F6814A0074E2}"/>
            </ac:spMkLst>
          </pc:spChg>
          <pc:spChg chg="mod">
            <ac:chgData name="Bernardo Lares" userId="c0b75bcc-c53b-4925-b19e-54b7afc94e15" providerId="ADAL" clId="{C15AA311-282E-4FE1-8D22-8A825A272403}" dt="2024-10-08T12:25:55.912" v="1044" actId="2711"/>
            <ac:spMkLst>
              <pc:docMk/>
              <pc:sldMasterMk cId="3442277182" sldId="2147483788"/>
              <pc:sldLayoutMk cId="3296186206" sldId="2147483795"/>
              <ac:spMk id="3" creationId="{5E4920F6-7DEA-40DB-B124-F0789E56046F}"/>
            </ac:spMkLst>
          </pc:spChg>
          <pc:spChg chg="mod">
            <ac:chgData name="Bernardo Lares" userId="c0b75bcc-c53b-4925-b19e-54b7afc94e15" providerId="ADAL" clId="{C15AA311-282E-4FE1-8D22-8A825A272403}" dt="2024-10-08T12:25:55.912" v="1044" actId="2711"/>
            <ac:spMkLst>
              <pc:docMk/>
              <pc:sldMasterMk cId="3442277182" sldId="2147483788"/>
              <pc:sldLayoutMk cId="3296186206" sldId="2147483795"/>
              <ac:spMk id="4" creationId="{D4DDB722-CBB2-49EC-937E-10206DEB6BD1}"/>
            </ac:spMkLst>
          </pc:spChg>
          <pc:spChg chg="mod">
            <ac:chgData name="Bernardo Lares" userId="c0b75bcc-c53b-4925-b19e-54b7afc94e15" providerId="ADAL" clId="{C15AA311-282E-4FE1-8D22-8A825A272403}" dt="2024-10-08T12:25:55.912" v="1044" actId="2711"/>
            <ac:spMkLst>
              <pc:docMk/>
              <pc:sldMasterMk cId="3442277182" sldId="2147483788"/>
              <pc:sldLayoutMk cId="3296186206" sldId="2147483795"/>
              <ac:spMk id="5" creationId="{2CA69924-8312-93A7-5F21-75AD30BAD2DF}"/>
            </ac:spMkLst>
          </pc:spChg>
          <pc:spChg chg="add del mod modVis">
            <ac:chgData name="Bernardo Lares" userId="c0b75bcc-c53b-4925-b19e-54b7afc94e15" providerId="ADAL" clId="{C15AA311-282E-4FE1-8D22-8A825A272403}" dt="2024-10-08T12:26:09.129" v="1069"/>
            <ac:spMkLst>
              <pc:docMk/>
              <pc:sldMasterMk cId="3442277182" sldId="2147483788"/>
              <pc:sldLayoutMk cId="3296186206" sldId="2147483795"/>
              <ac:spMk id="6" creationId="{1D1FF524-AA91-2862-27BC-A8D6D2AE72EA}"/>
            </ac:spMkLst>
          </pc:spChg>
          <pc:spChg chg="del mod">
            <ac:chgData name="Bernardo Lares" userId="c0b75bcc-c53b-4925-b19e-54b7afc94e15" providerId="ADAL" clId="{C15AA311-282E-4FE1-8D22-8A825A272403}" dt="2024-10-08T12:26:21.293" v="1086" actId="478"/>
            <ac:spMkLst>
              <pc:docMk/>
              <pc:sldMasterMk cId="3442277182" sldId="2147483788"/>
              <pc:sldLayoutMk cId="3296186206" sldId="2147483795"/>
              <ac:spMk id="7" creationId="{D4E53DDB-FDB6-66D3-FC50-5426FF978D71}"/>
            </ac:spMkLst>
          </pc:spChg>
          <pc:spChg chg="mod">
            <ac:chgData name="Bernardo Lares" userId="c0b75bcc-c53b-4925-b19e-54b7afc94e15" providerId="ADAL" clId="{C15AA311-282E-4FE1-8D22-8A825A272403}" dt="2024-10-08T12:26:09.104" v="1046" actId="948"/>
            <ac:spMkLst>
              <pc:docMk/>
              <pc:sldMasterMk cId="3442277182" sldId="2147483788"/>
              <pc:sldLayoutMk cId="3296186206" sldId="2147483795"/>
              <ac:spMk id="9" creationId="{3A7A86B9-637F-F18A-3604-5A44F7C4442F}"/>
            </ac:spMkLst>
          </pc:spChg>
          <pc:spChg chg="mod">
            <ac:chgData name="Bernardo Lares" userId="c0b75bcc-c53b-4925-b19e-54b7afc94e15" providerId="ADAL" clId="{C15AA311-282E-4FE1-8D22-8A825A272403}" dt="2024-10-08T12:26:13.784" v="1085" actId="962"/>
            <ac:spMkLst>
              <pc:docMk/>
              <pc:sldMasterMk cId="3442277182" sldId="2147483788"/>
              <pc:sldLayoutMk cId="3296186206" sldId="2147483795"/>
              <ac:spMk id="10" creationId="{5A89E078-B97D-529E-FF83-DF5AD69D51F2}"/>
            </ac:spMkLst>
          </pc:spChg>
          <pc:spChg chg="add mod">
            <ac:chgData name="Bernardo Lares" userId="c0b75bcc-c53b-4925-b19e-54b7afc94e15" providerId="ADAL" clId="{C15AA311-282E-4FE1-8D22-8A825A272403}" dt="2024-10-08T12:26:37.524" v="1091" actId="14100"/>
            <ac:spMkLst>
              <pc:docMk/>
              <pc:sldMasterMk cId="3442277182" sldId="2147483788"/>
              <pc:sldLayoutMk cId="3296186206" sldId="2147483795"/>
              <ac:spMk id="11" creationId="{0222423B-5423-CFD3-AB33-EAB059EC2845}"/>
            </ac:spMkLst>
          </pc:spChg>
          <pc:spChg chg="add mod">
            <ac:chgData name="Bernardo Lares" userId="c0b75bcc-c53b-4925-b19e-54b7afc94e15" providerId="ADAL" clId="{C15AA311-282E-4FE1-8D22-8A825A272403}" dt="2024-10-09T08:15:32.183" v="2193" actId="20577"/>
            <ac:spMkLst>
              <pc:docMk/>
              <pc:sldMasterMk cId="3442277182" sldId="2147483788"/>
              <pc:sldLayoutMk cId="3296186206" sldId="2147483795"/>
              <ac:spMk id="12" creationId="{DF1D6677-401A-F2BA-502D-D2EEA5B19D35}"/>
            </ac:spMkLst>
          </pc:spChg>
          <pc:spChg chg="mod">
            <ac:chgData name="Bernardo Lares" userId="c0b75bcc-c53b-4925-b19e-54b7afc94e15" providerId="ADAL" clId="{C15AA311-282E-4FE1-8D22-8A825A272403}" dt="2024-10-08T12:25:55.912" v="1044" actId="2711"/>
            <ac:spMkLst>
              <pc:docMk/>
              <pc:sldMasterMk cId="3442277182" sldId="2147483788"/>
              <pc:sldLayoutMk cId="3296186206" sldId="2147483795"/>
              <ac:spMk id="13" creationId="{22D601A5-6CEE-D258-CCEB-85D1BB27BD87}"/>
            </ac:spMkLst>
          </pc:spChg>
          <pc:spChg chg="del mod">
            <ac:chgData name="Bernardo Lares" userId="c0b75bcc-c53b-4925-b19e-54b7afc94e15" providerId="ADAL" clId="{C15AA311-282E-4FE1-8D22-8A825A272403}" dt="2024-10-08T12:26:23.292" v="1087" actId="478"/>
            <ac:spMkLst>
              <pc:docMk/>
              <pc:sldMasterMk cId="3442277182" sldId="2147483788"/>
              <pc:sldLayoutMk cId="3296186206" sldId="2147483795"/>
              <ac:spMk id="15" creationId="{00000000-0000-0000-0000-000000000000}"/>
            </ac:spMkLst>
          </pc:spChg>
          <pc:graphicFrameChg chg="add mod ord modVis replST">
            <ac:chgData name="Bernardo Lares" userId="c0b75bcc-c53b-4925-b19e-54b7afc94e15" providerId="ADAL" clId="{C15AA311-282E-4FE1-8D22-8A825A272403}" dt="2024-10-08T12:26:09.197" v="1084"/>
            <ac:graphicFrameMkLst>
              <pc:docMk/>
              <pc:sldMasterMk cId="3442277182" sldId="2147483788"/>
              <pc:sldLayoutMk cId="3296186206" sldId="2147483795"/>
              <ac:graphicFrameMk id="8" creationId="{B21CDEB8-E44B-BE7A-700F-DD2933667B60}"/>
            </ac:graphicFrameMkLst>
          </pc:graphicFrameChg>
        </pc:sldLayoutChg>
        <pc:sldLayoutChg chg="del">
          <pc:chgData name="Bernardo Lares" userId="c0b75bcc-c53b-4925-b19e-54b7afc94e15" providerId="ADAL" clId="{C15AA311-282E-4FE1-8D22-8A825A272403}" dt="2024-10-08T16:25:52.645" v="1994" actId="2696"/>
          <pc:sldLayoutMkLst>
            <pc:docMk/>
            <pc:sldMasterMk cId="3442277182" sldId="2147483788"/>
            <pc:sldLayoutMk cId="158806538" sldId="2147483796"/>
          </pc:sldLayoutMkLst>
        </pc:sldLayoutChg>
        <pc:sldLayoutChg chg="del">
          <pc:chgData name="Bernardo Lares" userId="c0b75bcc-c53b-4925-b19e-54b7afc94e15" providerId="ADAL" clId="{C15AA311-282E-4FE1-8D22-8A825A272403}" dt="2024-10-08T16:25:57.569" v="1995" actId="2696"/>
          <pc:sldLayoutMkLst>
            <pc:docMk/>
            <pc:sldMasterMk cId="3442277182" sldId="2147483788"/>
            <pc:sldLayoutMk cId="586959793" sldId="2147483800"/>
          </pc:sldLayoutMkLst>
        </pc:sldLayoutChg>
        <pc:sldLayoutChg chg="del">
          <pc:chgData name="Bernardo Lares" userId="c0b75bcc-c53b-4925-b19e-54b7afc94e15" providerId="ADAL" clId="{C15AA311-282E-4FE1-8D22-8A825A272403}" dt="2024-10-08T16:25:59.425" v="1996" actId="2696"/>
          <pc:sldLayoutMkLst>
            <pc:docMk/>
            <pc:sldMasterMk cId="3442277182" sldId="2147483788"/>
            <pc:sldLayoutMk cId="3984017630" sldId="2147483801"/>
          </pc:sldLayoutMkLst>
        </pc:sldLayoutChg>
        <pc:sldLayoutChg chg="addSp delSp modSp add mod ord delAnim modAnim">
          <pc:chgData name="Bernardo Lares" userId="c0b75bcc-c53b-4925-b19e-54b7afc94e15" providerId="ADAL" clId="{C15AA311-282E-4FE1-8D22-8A825A272403}" dt="2024-10-09T13:08:15.447" v="2248" actId="403"/>
          <pc:sldLayoutMkLst>
            <pc:docMk/>
            <pc:sldMasterMk cId="3442277182" sldId="2147483788"/>
            <pc:sldLayoutMk cId="2050527937" sldId="2147483818"/>
          </pc:sldLayoutMkLst>
          <pc:spChg chg="add del mod modVis">
            <ac:chgData name="Bernardo Lares" userId="c0b75bcc-c53b-4925-b19e-54b7afc94e15" providerId="ADAL" clId="{C15AA311-282E-4FE1-8D22-8A825A272403}" dt="2024-10-07T14:36:40.489" v="507"/>
            <ac:spMkLst>
              <pc:docMk/>
              <pc:sldMasterMk cId="3442277182" sldId="2147483788"/>
              <pc:sldLayoutMk cId="2050527937" sldId="2147483818"/>
              <ac:spMk id="3" creationId="{3993CCAE-6976-6B8F-DD32-581D690CC29A}"/>
            </ac:spMkLst>
          </pc:spChg>
          <pc:spChg chg="add del mod modVis">
            <ac:chgData name="Bernardo Lares" userId="c0b75bcc-c53b-4925-b19e-54b7afc94e15" providerId="ADAL" clId="{C15AA311-282E-4FE1-8D22-8A825A272403}" dt="2024-10-07T14:41:49.384" v="636"/>
            <ac:spMkLst>
              <pc:docMk/>
              <pc:sldMasterMk cId="3442277182" sldId="2147483788"/>
              <pc:sldLayoutMk cId="2050527937" sldId="2147483818"/>
              <ac:spMk id="3" creationId="{5086A658-5EED-B5FB-23C4-5043577F189C}"/>
            </ac:spMkLst>
          </pc:spChg>
          <pc:spChg chg="del">
            <ac:chgData name="Bernardo Lares" userId="c0b75bcc-c53b-4925-b19e-54b7afc94e15" providerId="ADAL" clId="{C15AA311-282E-4FE1-8D22-8A825A272403}" dt="2024-10-07T14:11:09.502" v="402" actId="478"/>
            <ac:spMkLst>
              <pc:docMk/>
              <pc:sldMasterMk cId="3442277182" sldId="2147483788"/>
              <pc:sldLayoutMk cId="2050527937" sldId="2147483818"/>
              <ac:spMk id="3" creationId="{62E57A6D-CCB0-DF2D-0D9A-6184CE396941}"/>
            </ac:spMkLst>
          </pc:spChg>
          <pc:spChg chg="add del mod modVis">
            <ac:chgData name="Bernardo Lares" userId="c0b75bcc-c53b-4925-b19e-54b7afc94e15" providerId="ADAL" clId="{C15AA311-282E-4FE1-8D22-8A825A272403}" dt="2024-10-08T15:24:26.615" v="1808"/>
            <ac:spMkLst>
              <pc:docMk/>
              <pc:sldMasterMk cId="3442277182" sldId="2147483788"/>
              <pc:sldLayoutMk cId="2050527937" sldId="2147483818"/>
              <ac:spMk id="3" creationId="{DABFFF67-318E-8C2C-212E-1CAD0757372B}"/>
            </ac:spMkLst>
          </pc:spChg>
          <pc:spChg chg="add del mod modVis">
            <ac:chgData name="Bernardo Lares" userId="c0b75bcc-c53b-4925-b19e-54b7afc94e15" providerId="ADAL" clId="{C15AA311-282E-4FE1-8D22-8A825A272403}" dt="2024-10-07T14:41:51.164" v="669"/>
            <ac:spMkLst>
              <pc:docMk/>
              <pc:sldMasterMk cId="3442277182" sldId="2147483788"/>
              <pc:sldLayoutMk cId="2050527937" sldId="2147483818"/>
              <ac:spMk id="6" creationId="{442C3C36-FB3E-3C46-09CC-264DEFFA4424}"/>
            </ac:spMkLst>
          </pc:spChg>
          <pc:spChg chg="add del mod modVis">
            <ac:chgData name="Bernardo Lares" userId="c0b75bcc-c53b-4925-b19e-54b7afc94e15" providerId="ADAL" clId="{C15AA311-282E-4FE1-8D22-8A825A272403}" dt="2024-10-08T15:24:28.123" v="1838"/>
            <ac:spMkLst>
              <pc:docMk/>
              <pc:sldMasterMk cId="3442277182" sldId="2147483788"/>
              <pc:sldLayoutMk cId="2050527937" sldId="2147483818"/>
              <ac:spMk id="6" creationId="{A903129F-8118-EE01-C473-752FAB8CAF14}"/>
            </ac:spMkLst>
          </pc:spChg>
          <pc:spChg chg="add del mod">
            <ac:chgData name="Bernardo Lares" userId="c0b75bcc-c53b-4925-b19e-54b7afc94e15" providerId="ADAL" clId="{C15AA311-282E-4FE1-8D22-8A825A272403}" dt="2024-10-07T14:10:10.423" v="320" actId="478"/>
            <ac:spMkLst>
              <pc:docMk/>
              <pc:sldMasterMk cId="3442277182" sldId="2147483788"/>
              <pc:sldLayoutMk cId="2050527937" sldId="2147483818"/>
              <ac:spMk id="6" creationId="{EF465FDF-7CC7-51C7-FB16-0296D9CE536E}"/>
            </ac:spMkLst>
          </pc:spChg>
          <pc:spChg chg="del">
            <ac:chgData name="Bernardo Lares" userId="c0b75bcc-c53b-4925-b19e-54b7afc94e15" providerId="ADAL" clId="{C15AA311-282E-4FE1-8D22-8A825A272403}" dt="2024-10-07T14:03:13.759" v="1" actId="478"/>
            <ac:spMkLst>
              <pc:docMk/>
              <pc:sldMasterMk cId="3442277182" sldId="2147483788"/>
              <pc:sldLayoutMk cId="2050527937" sldId="2147483818"/>
              <ac:spMk id="7" creationId="{4B3924AB-56D4-343D-306B-195A924E9EF9}"/>
            </ac:spMkLst>
          </pc:spChg>
          <pc:spChg chg="add del mod modVis">
            <ac:chgData name="Bernardo Lares" userId="c0b75bcc-c53b-4925-b19e-54b7afc94e15" providerId="ADAL" clId="{C15AA311-282E-4FE1-8D22-8A825A272403}" dt="2024-10-08T15:24:30.659" v="1865"/>
            <ac:spMkLst>
              <pc:docMk/>
              <pc:sldMasterMk cId="3442277182" sldId="2147483788"/>
              <pc:sldLayoutMk cId="2050527937" sldId="2147483818"/>
              <ac:spMk id="7" creationId="{9BAD42DA-90BF-EF5C-6741-461A382DD7B9}"/>
            </ac:spMkLst>
          </pc:spChg>
          <pc:spChg chg="mod">
            <ac:chgData name="Bernardo Lares" userId="c0b75bcc-c53b-4925-b19e-54b7afc94e15" providerId="ADAL" clId="{C15AA311-282E-4FE1-8D22-8A825A272403}" dt="2024-10-08T15:25:10.093" v="1872" actId="948"/>
            <ac:spMkLst>
              <pc:docMk/>
              <pc:sldMasterMk cId="3442277182" sldId="2147483788"/>
              <pc:sldLayoutMk cId="2050527937" sldId="2147483818"/>
              <ac:spMk id="8" creationId="{3484351E-5906-1465-ED52-DA75D3630DE8}"/>
            </ac:spMkLst>
          </pc:spChg>
          <pc:spChg chg="add del mod">
            <ac:chgData name="Bernardo Lares" userId="c0b75bcc-c53b-4925-b19e-54b7afc94e15" providerId="ADAL" clId="{C15AA311-282E-4FE1-8D22-8A825A272403}" dt="2024-10-07T14:41:39.210" v="610" actId="113"/>
            <ac:spMkLst>
              <pc:docMk/>
              <pc:sldMasterMk cId="3442277182" sldId="2147483788"/>
              <pc:sldLayoutMk cId="2050527937" sldId="2147483818"/>
              <ac:spMk id="9" creationId="{62BDBB70-10FD-DDED-C062-9AA92765646E}"/>
            </ac:spMkLst>
          </pc:spChg>
          <pc:spChg chg="add mod">
            <ac:chgData name="Bernardo Lares" userId="c0b75bcc-c53b-4925-b19e-54b7afc94e15" providerId="ADAL" clId="{C15AA311-282E-4FE1-8D22-8A825A272403}" dt="2024-10-07T14:03:42.722" v="5" actId="404"/>
            <ac:spMkLst>
              <pc:docMk/>
              <pc:sldMasterMk cId="3442277182" sldId="2147483788"/>
              <pc:sldLayoutMk cId="2050527937" sldId="2147483818"/>
              <ac:spMk id="10" creationId="{30542CAE-C108-5997-EE98-2C9412642EC9}"/>
            </ac:spMkLst>
          </pc:spChg>
          <pc:spChg chg="add mod">
            <ac:chgData name="Bernardo Lares" userId="c0b75bcc-c53b-4925-b19e-54b7afc94e15" providerId="ADAL" clId="{C15AA311-282E-4FE1-8D22-8A825A272403}" dt="2024-10-07T14:59:28.639" v="678" actId="1076"/>
            <ac:spMkLst>
              <pc:docMk/>
              <pc:sldMasterMk cId="3442277182" sldId="2147483788"/>
              <pc:sldLayoutMk cId="2050527937" sldId="2147483818"/>
              <ac:spMk id="11" creationId="{6737A9C3-3B89-924F-D4C3-2D7C939556D4}"/>
            </ac:spMkLst>
          </pc:spChg>
          <pc:spChg chg="add mod">
            <ac:chgData name="Bernardo Lares" userId="c0b75bcc-c53b-4925-b19e-54b7afc94e15" providerId="ADAL" clId="{C15AA311-282E-4FE1-8D22-8A825A272403}" dt="2024-10-09T13:07:53.175" v="2245" actId="465"/>
            <ac:spMkLst>
              <pc:docMk/>
              <pc:sldMasterMk cId="3442277182" sldId="2147483788"/>
              <pc:sldLayoutMk cId="2050527937" sldId="2147483818"/>
              <ac:spMk id="13" creationId="{A8D1C4FF-9441-23F1-9C93-B8E4BCC0F5C2}"/>
            </ac:spMkLst>
          </pc:spChg>
          <pc:spChg chg="add mod">
            <ac:chgData name="Bernardo Lares" userId="c0b75bcc-c53b-4925-b19e-54b7afc94e15" providerId="ADAL" clId="{C15AA311-282E-4FE1-8D22-8A825A272403}" dt="2024-10-09T13:07:53.175" v="2245" actId="465"/>
            <ac:spMkLst>
              <pc:docMk/>
              <pc:sldMasterMk cId="3442277182" sldId="2147483788"/>
              <pc:sldLayoutMk cId="2050527937" sldId="2147483818"/>
              <ac:spMk id="14" creationId="{5679F10E-203A-9680-1252-6081D89AAFC8}"/>
            </ac:spMkLst>
          </pc:spChg>
          <pc:spChg chg="add mod">
            <ac:chgData name="Bernardo Lares" userId="c0b75bcc-c53b-4925-b19e-54b7afc94e15" providerId="ADAL" clId="{C15AA311-282E-4FE1-8D22-8A825A272403}" dt="2024-10-07T14:59:28.639" v="678" actId="1076"/>
            <ac:spMkLst>
              <pc:docMk/>
              <pc:sldMasterMk cId="3442277182" sldId="2147483788"/>
              <pc:sldLayoutMk cId="2050527937" sldId="2147483818"/>
              <ac:spMk id="15" creationId="{34A8295A-BEA1-C944-7793-89B9BF180E43}"/>
            </ac:spMkLst>
          </pc:spChg>
          <pc:spChg chg="add mod">
            <ac:chgData name="Bernardo Lares" userId="c0b75bcc-c53b-4925-b19e-54b7afc94e15" providerId="ADAL" clId="{C15AA311-282E-4FE1-8D22-8A825A272403}" dt="2024-10-07T14:59:49.315" v="684" actId="1036"/>
            <ac:spMkLst>
              <pc:docMk/>
              <pc:sldMasterMk cId="3442277182" sldId="2147483788"/>
              <pc:sldLayoutMk cId="2050527937" sldId="2147483818"/>
              <ac:spMk id="16" creationId="{E84DF276-C9FA-22EF-0D12-D82FED3CD14A}"/>
            </ac:spMkLst>
          </pc:spChg>
          <pc:spChg chg="add mod">
            <ac:chgData name="Bernardo Lares" userId="c0b75bcc-c53b-4925-b19e-54b7afc94e15" providerId="ADAL" clId="{C15AA311-282E-4FE1-8D22-8A825A272403}" dt="2024-10-07T14:40:36.574" v="575" actId="113"/>
            <ac:spMkLst>
              <pc:docMk/>
              <pc:sldMasterMk cId="3442277182" sldId="2147483788"/>
              <pc:sldLayoutMk cId="2050527937" sldId="2147483818"/>
              <ac:spMk id="17" creationId="{4023477D-ABEF-8B6C-655F-49C889BFE9A7}"/>
            </ac:spMkLst>
          </pc:spChg>
          <pc:spChg chg="add del mod">
            <ac:chgData name="Bernardo Lares" userId="c0b75bcc-c53b-4925-b19e-54b7afc94e15" providerId="ADAL" clId="{C15AA311-282E-4FE1-8D22-8A825A272403}" dt="2024-10-07T14:59:39.046" v="679" actId="1076"/>
            <ac:spMkLst>
              <pc:docMk/>
              <pc:sldMasterMk cId="3442277182" sldId="2147483788"/>
              <pc:sldLayoutMk cId="2050527937" sldId="2147483818"/>
              <ac:spMk id="18" creationId="{F66854FF-B88E-120A-65CF-BF7F2B3BD41B}"/>
            </ac:spMkLst>
          </pc:spChg>
          <pc:spChg chg="add mod">
            <ac:chgData name="Bernardo Lares" userId="c0b75bcc-c53b-4925-b19e-54b7afc94e15" providerId="ADAL" clId="{C15AA311-282E-4FE1-8D22-8A825A272403}" dt="2024-10-07T14:03:51.996" v="6" actId="12"/>
            <ac:spMkLst>
              <pc:docMk/>
              <pc:sldMasterMk cId="3442277182" sldId="2147483788"/>
              <pc:sldLayoutMk cId="2050527937" sldId="2147483818"/>
              <ac:spMk id="19" creationId="{7E26DBB3-2362-4694-2684-60A7139FD161}"/>
            </ac:spMkLst>
          </pc:spChg>
          <pc:spChg chg="add mod">
            <ac:chgData name="Bernardo Lares" userId="c0b75bcc-c53b-4925-b19e-54b7afc94e15" providerId="ADAL" clId="{C15AA311-282E-4FE1-8D22-8A825A272403}" dt="2024-10-07T14:59:28.639" v="678" actId="1076"/>
            <ac:spMkLst>
              <pc:docMk/>
              <pc:sldMasterMk cId="3442277182" sldId="2147483788"/>
              <pc:sldLayoutMk cId="2050527937" sldId="2147483818"/>
              <ac:spMk id="20" creationId="{D3D3E016-9E7F-1BD4-F9D1-4C6C89C70224}"/>
            </ac:spMkLst>
          </pc:spChg>
          <pc:spChg chg="add mod">
            <ac:chgData name="Bernardo Lares" userId="c0b75bcc-c53b-4925-b19e-54b7afc94e15" providerId="ADAL" clId="{C15AA311-282E-4FE1-8D22-8A825A272403}" dt="2024-10-07T14:59:49.315" v="684" actId="1036"/>
            <ac:spMkLst>
              <pc:docMk/>
              <pc:sldMasterMk cId="3442277182" sldId="2147483788"/>
              <pc:sldLayoutMk cId="2050527937" sldId="2147483818"/>
              <ac:spMk id="21" creationId="{774212F8-FB4A-0614-90EA-4549FA65D8CB}"/>
            </ac:spMkLst>
          </pc:spChg>
          <pc:spChg chg="add del mod">
            <ac:chgData name="Bernardo Lares" userId="c0b75bcc-c53b-4925-b19e-54b7afc94e15" providerId="ADAL" clId="{C15AA311-282E-4FE1-8D22-8A825A272403}" dt="2024-10-07T14:59:13.216" v="677" actId="1076"/>
            <ac:spMkLst>
              <pc:docMk/>
              <pc:sldMasterMk cId="3442277182" sldId="2147483788"/>
              <pc:sldLayoutMk cId="2050527937" sldId="2147483818"/>
              <ac:spMk id="22" creationId="{713A5AE3-AE2E-605A-5F8B-3C95F0F63146}"/>
            </ac:spMkLst>
          </pc:spChg>
          <pc:spChg chg="add del mod modVis">
            <ac:chgData name="Bernardo Lares" userId="c0b75bcc-c53b-4925-b19e-54b7afc94e15" providerId="ADAL" clId="{C15AA311-282E-4FE1-8D22-8A825A272403}" dt="2024-10-08T15:25:10.127" v="1895"/>
            <ac:spMkLst>
              <pc:docMk/>
              <pc:sldMasterMk cId="3442277182" sldId="2147483788"/>
              <pc:sldLayoutMk cId="2050527937" sldId="2147483818"/>
              <ac:spMk id="23" creationId="{377E79E0-6361-90EF-504D-665152DD8931}"/>
            </ac:spMkLst>
          </pc:spChg>
          <pc:spChg chg="add del mod">
            <ac:chgData name="Bernardo Lares" userId="c0b75bcc-c53b-4925-b19e-54b7afc94e15" providerId="ADAL" clId="{C15AA311-282E-4FE1-8D22-8A825A272403}" dt="2024-10-07T14:10:19.061" v="337" actId="478"/>
            <ac:spMkLst>
              <pc:docMk/>
              <pc:sldMasterMk cId="3442277182" sldId="2147483788"/>
              <pc:sldLayoutMk cId="2050527937" sldId="2147483818"/>
              <ac:spMk id="23" creationId="{3E327FC3-C259-F0DD-1C81-59EFB328FD6C}"/>
            </ac:spMkLst>
          </pc:spChg>
          <pc:spChg chg="add mod">
            <ac:chgData name="Bernardo Lares" userId="c0b75bcc-c53b-4925-b19e-54b7afc94e15" providerId="ADAL" clId="{C15AA311-282E-4FE1-8D22-8A825A272403}" dt="2024-10-09T13:07:19.070" v="2243" actId="1038"/>
            <ac:spMkLst>
              <pc:docMk/>
              <pc:sldMasterMk cId="3442277182" sldId="2147483788"/>
              <pc:sldLayoutMk cId="2050527937" sldId="2147483818"/>
              <ac:spMk id="24" creationId="{887F1F8E-AE85-4502-65BF-F703C08ADC7E}"/>
            </ac:spMkLst>
          </pc:spChg>
          <pc:spChg chg="add mod">
            <ac:chgData name="Bernardo Lares" userId="c0b75bcc-c53b-4925-b19e-54b7afc94e15" providerId="ADAL" clId="{C15AA311-282E-4FE1-8D22-8A825A272403}" dt="2024-10-09T13:07:19.070" v="2243" actId="1038"/>
            <ac:spMkLst>
              <pc:docMk/>
              <pc:sldMasterMk cId="3442277182" sldId="2147483788"/>
              <pc:sldLayoutMk cId="2050527937" sldId="2147483818"/>
              <ac:spMk id="25" creationId="{F5CF6485-8342-5ADC-1F0D-6B4B2CDD3F66}"/>
            </ac:spMkLst>
          </pc:spChg>
          <pc:spChg chg="add mod">
            <ac:chgData name="Bernardo Lares" userId="c0b75bcc-c53b-4925-b19e-54b7afc94e15" providerId="ADAL" clId="{C15AA311-282E-4FE1-8D22-8A825A272403}" dt="2024-10-09T13:07:19.070" v="2243" actId="1038"/>
            <ac:spMkLst>
              <pc:docMk/>
              <pc:sldMasterMk cId="3442277182" sldId="2147483788"/>
              <pc:sldLayoutMk cId="2050527937" sldId="2147483818"/>
              <ac:spMk id="26" creationId="{D0434839-5CDD-6805-E929-E5B88577D1A6}"/>
            </ac:spMkLst>
          </pc:spChg>
          <pc:spChg chg="add mod">
            <ac:chgData name="Bernardo Lares" userId="c0b75bcc-c53b-4925-b19e-54b7afc94e15" providerId="ADAL" clId="{C15AA311-282E-4FE1-8D22-8A825A272403}" dt="2024-10-09T13:07:19.070" v="2243" actId="1038"/>
            <ac:spMkLst>
              <pc:docMk/>
              <pc:sldMasterMk cId="3442277182" sldId="2147483788"/>
              <pc:sldLayoutMk cId="2050527937" sldId="2147483818"/>
              <ac:spMk id="27" creationId="{693F869E-224D-1F9F-F9AD-2E4A121A14DF}"/>
            </ac:spMkLst>
          </pc:spChg>
          <pc:spChg chg="add mod">
            <ac:chgData name="Bernardo Lares" userId="c0b75bcc-c53b-4925-b19e-54b7afc94e15" providerId="ADAL" clId="{C15AA311-282E-4FE1-8D22-8A825A272403}" dt="2024-10-09T13:07:19.070" v="2243" actId="1038"/>
            <ac:spMkLst>
              <pc:docMk/>
              <pc:sldMasterMk cId="3442277182" sldId="2147483788"/>
              <pc:sldLayoutMk cId="2050527937" sldId="2147483818"/>
              <ac:spMk id="28" creationId="{7C34DB49-49BF-46E4-FF57-5DE564F277C7}"/>
            </ac:spMkLst>
          </pc:spChg>
          <pc:spChg chg="add mod">
            <ac:chgData name="Bernardo Lares" userId="c0b75bcc-c53b-4925-b19e-54b7afc94e15" providerId="ADAL" clId="{C15AA311-282E-4FE1-8D22-8A825A272403}" dt="2024-10-09T13:07:19.070" v="2243" actId="1038"/>
            <ac:spMkLst>
              <pc:docMk/>
              <pc:sldMasterMk cId="3442277182" sldId="2147483788"/>
              <pc:sldLayoutMk cId="2050527937" sldId="2147483818"/>
              <ac:spMk id="29" creationId="{89AB9FC4-5A2C-F486-1742-B3D35CA1BCA6}"/>
            </ac:spMkLst>
          </pc:spChg>
          <pc:spChg chg="add mod">
            <ac:chgData name="Bernardo Lares" userId="c0b75bcc-c53b-4925-b19e-54b7afc94e15" providerId="ADAL" clId="{C15AA311-282E-4FE1-8D22-8A825A272403}" dt="2024-10-09T13:08:07.133" v="2246" actId="403"/>
            <ac:spMkLst>
              <pc:docMk/>
              <pc:sldMasterMk cId="3442277182" sldId="2147483788"/>
              <pc:sldLayoutMk cId="2050527937" sldId="2147483818"/>
              <ac:spMk id="30" creationId="{C62DF908-1D66-C5FB-5076-D9DE5CEC34EB}"/>
            </ac:spMkLst>
          </pc:spChg>
          <pc:spChg chg="add mod">
            <ac:chgData name="Bernardo Lares" userId="c0b75bcc-c53b-4925-b19e-54b7afc94e15" providerId="ADAL" clId="{C15AA311-282E-4FE1-8D22-8A825A272403}" dt="2024-10-09T13:08:11.319" v="2247" actId="403"/>
            <ac:spMkLst>
              <pc:docMk/>
              <pc:sldMasterMk cId="3442277182" sldId="2147483788"/>
              <pc:sldLayoutMk cId="2050527937" sldId="2147483818"/>
              <ac:spMk id="31" creationId="{D815585C-8028-0CD7-D52B-3AD1A0D9310A}"/>
            </ac:spMkLst>
          </pc:spChg>
          <pc:spChg chg="add mod">
            <ac:chgData name="Bernardo Lares" userId="c0b75bcc-c53b-4925-b19e-54b7afc94e15" providerId="ADAL" clId="{C15AA311-282E-4FE1-8D22-8A825A272403}" dt="2024-10-09T13:08:15.447" v="2248" actId="403"/>
            <ac:spMkLst>
              <pc:docMk/>
              <pc:sldMasterMk cId="3442277182" sldId="2147483788"/>
              <pc:sldLayoutMk cId="2050527937" sldId="2147483818"/>
              <ac:spMk id="32" creationId="{E7AB00F1-926F-F6F2-861C-274FD34CDC57}"/>
            </ac:spMkLst>
          </pc:spChg>
          <pc:spChg chg="add del mod">
            <ac:chgData name="Bernardo Lares" userId="c0b75bcc-c53b-4925-b19e-54b7afc94e15" providerId="ADAL" clId="{C15AA311-282E-4FE1-8D22-8A825A272403}" dt="2024-10-07T14:10:37.539" v="358" actId="478"/>
            <ac:spMkLst>
              <pc:docMk/>
              <pc:sldMasterMk cId="3442277182" sldId="2147483788"/>
              <pc:sldLayoutMk cId="2050527937" sldId="2147483818"/>
              <ac:spMk id="40" creationId="{9A846672-BAB6-B2EC-C24E-3B6FA10D9078}"/>
            </ac:spMkLst>
          </pc:spChg>
          <pc:spChg chg="add mod">
            <ac:chgData name="Bernardo Lares" userId="c0b75bcc-c53b-4925-b19e-54b7afc94e15" providerId="ADAL" clId="{C15AA311-282E-4FE1-8D22-8A825A272403}" dt="2024-10-07T14:04:01.401" v="7" actId="12"/>
            <ac:spMkLst>
              <pc:docMk/>
              <pc:sldMasterMk cId="3442277182" sldId="2147483788"/>
              <pc:sldLayoutMk cId="2050527937" sldId="2147483818"/>
              <ac:spMk id="41" creationId="{B4AEF21C-275D-4D37-80C0-836AD8BC881D}"/>
            </ac:spMkLst>
          </pc:spChg>
          <pc:spChg chg="add mod">
            <ac:chgData name="Bernardo Lares" userId="c0b75bcc-c53b-4925-b19e-54b7afc94e15" providerId="ADAL" clId="{C15AA311-282E-4FE1-8D22-8A825A272403}" dt="2024-10-09T13:07:19.070" v="2243" actId="1038"/>
            <ac:spMkLst>
              <pc:docMk/>
              <pc:sldMasterMk cId="3442277182" sldId="2147483788"/>
              <pc:sldLayoutMk cId="2050527937" sldId="2147483818"/>
              <ac:spMk id="42" creationId="{28C1EA55-F2E7-A74E-5C2A-8057922F99DA}"/>
            </ac:spMkLst>
          </pc:spChg>
          <pc:spChg chg="add mod">
            <ac:chgData name="Bernardo Lares" userId="c0b75bcc-c53b-4925-b19e-54b7afc94e15" providerId="ADAL" clId="{C15AA311-282E-4FE1-8D22-8A825A272403}" dt="2024-10-09T13:07:19.070" v="2243" actId="1038"/>
            <ac:spMkLst>
              <pc:docMk/>
              <pc:sldMasterMk cId="3442277182" sldId="2147483788"/>
              <pc:sldLayoutMk cId="2050527937" sldId="2147483818"/>
              <ac:spMk id="43" creationId="{B4BACFB0-7A29-0210-C430-3B0E35F4B518}"/>
            </ac:spMkLst>
          </pc:spChg>
          <pc:spChg chg="add del mod modVis">
            <ac:chgData name="Bernardo Lares" userId="c0b75bcc-c53b-4925-b19e-54b7afc94e15" providerId="ADAL" clId="{C15AA311-282E-4FE1-8D22-8A825A272403}" dt="2024-10-07T14:05:08.588" v="124"/>
            <ac:spMkLst>
              <pc:docMk/>
              <pc:sldMasterMk cId="3442277182" sldId="2147483788"/>
              <pc:sldLayoutMk cId="2050527937" sldId="2147483818"/>
              <ac:spMk id="45" creationId="{5F634750-725D-6130-A2F8-A7BB1BD01798}"/>
            </ac:spMkLst>
          </pc:spChg>
          <pc:spChg chg="add del mod modVis">
            <ac:chgData name="Bernardo Lares" userId="c0b75bcc-c53b-4925-b19e-54b7afc94e15" providerId="ADAL" clId="{C15AA311-282E-4FE1-8D22-8A825A272403}" dt="2024-10-07T14:05:10.478" v="158"/>
            <ac:spMkLst>
              <pc:docMk/>
              <pc:sldMasterMk cId="3442277182" sldId="2147483788"/>
              <pc:sldLayoutMk cId="2050527937" sldId="2147483818"/>
              <ac:spMk id="46" creationId="{2180CE73-D209-F9B0-DF68-C626DC8884AC}"/>
            </ac:spMkLst>
          </pc:spChg>
          <pc:spChg chg="add del mod modVis">
            <ac:chgData name="Bernardo Lares" userId="c0b75bcc-c53b-4925-b19e-54b7afc94e15" providerId="ADAL" clId="{C15AA311-282E-4FE1-8D22-8A825A272403}" dt="2024-10-07T14:05:15.525" v="191"/>
            <ac:spMkLst>
              <pc:docMk/>
              <pc:sldMasterMk cId="3442277182" sldId="2147483788"/>
              <pc:sldLayoutMk cId="2050527937" sldId="2147483818"/>
              <ac:spMk id="47" creationId="{9E7383F7-901D-DAA3-F7A1-14A76A381054}"/>
            </ac:spMkLst>
          </pc:spChg>
          <pc:spChg chg="add del mod">
            <ac:chgData name="Bernardo Lares" userId="c0b75bcc-c53b-4925-b19e-54b7afc94e15" providerId="ADAL" clId="{C15AA311-282E-4FE1-8D22-8A825A272403}" dt="2024-10-07T14:10:08.177" v="318" actId="21"/>
            <ac:spMkLst>
              <pc:docMk/>
              <pc:sldMasterMk cId="3442277182" sldId="2147483788"/>
              <pc:sldLayoutMk cId="2050527937" sldId="2147483818"/>
              <ac:spMk id="48" creationId="{A5A22E4E-5EF3-7784-F569-A25DDBBF7DCA}"/>
            </ac:spMkLst>
          </pc:spChg>
          <pc:spChg chg="add del mod">
            <ac:chgData name="Bernardo Lares" userId="c0b75bcc-c53b-4925-b19e-54b7afc94e15" providerId="ADAL" clId="{C15AA311-282E-4FE1-8D22-8A825A272403}" dt="2024-10-07T14:10:17.141" v="335" actId="21"/>
            <ac:spMkLst>
              <pc:docMk/>
              <pc:sldMasterMk cId="3442277182" sldId="2147483788"/>
              <pc:sldLayoutMk cId="2050527937" sldId="2147483818"/>
              <ac:spMk id="49" creationId="{2D356860-BEDC-D2CE-854F-9992C3330CC5}"/>
            </ac:spMkLst>
          </pc:spChg>
          <pc:spChg chg="add mod">
            <ac:chgData name="Bernardo Lares" userId="c0b75bcc-c53b-4925-b19e-54b7afc94e15" providerId="ADAL" clId="{C15AA311-282E-4FE1-8D22-8A825A272403}" dt="2024-10-09T13:06:59.243" v="2204" actId="14100"/>
            <ac:spMkLst>
              <pc:docMk/>
              <pc:sldMasterMk cId="3442277182" sldId="2147483788"/>
              <pc:sldLayoutMk cId="2050527937" sldId="2147483818"/>
              <ac:spMk id="50" creationId="{A5A22E4E-5EF3-7784-F569-A25DDBBF7DCA}"/>
            </ac:spMkLst>
          </pc:spChg>
          <pc:spChg chg="add mod">
            <ac:chgData name="Bernardo Lares" userId="c0b75bcc-c53b-4925-b19e-54b7afc94e15" providerId="ADAL" clId="{C15AA311-282E-4FE1-8D22-8A825A272403}" dt="2024-10-09T13:06:47.564" v="2202" actId="14100"/>
            <ac:spMkLst>
              <pc:docMk/>
              <pc:sldMasterMk cId="3442277182" sldId="2147483788"/>
              <pc:sldLayoutMk cId="2050527937" sldId="2147483818"/>
              <ac:spMk id="51" creationId="{2D356860-BEDC-D2CE-854F-9992C3330CC5}"/>
            </ac:spMkLst>
          </pc:spChg>
          <pc:spChg chg="add del mod">
            <ac:chgData name="Bernardo Lares" userId="c0b75bcc-c53b-4925-b19e-54b7afc94e15" providerId="ADAL" clId="{C15AA311-282E-4FE1-8D22-8A825A272403}" dt="2024-10-07T14:10:35.688" v="357" actId="21"/>
            <ac:spMkLst>
              <pc:docMk/>
              <pc:sldMasterMk cId="3442277182" sldId="2147483788"/>
              <pc:sldLayoutMk cId="2050527937" sldId="2147483818"/>
              <ac:spMk id="52" creationId="{4DA63B55-C220-B7FA-53C9-E11303F1190E}"/>
            </ac:spMkLst>
          </pc:spChg>
          <pc:spChg chg="add mod">
            <ac:chgData name="Bernardo Lares" userId="c0b75bcc-c53b-4925-b19e-54b7afc94e15" providerId="ADAL" clId="{C15AA311-282E-4FE1-8D22-8A825A272403}" dt="2024-10-09T13:06:54.346" v="2203" actId="14100"/>
            <ac:spMkLst>
              <pc:docMk/>
              <pc:sldMasterMk cId="3442277182" sldId="2147483788"/>
              <pc:sldLayoutMk cId="2050527937" sldId="2147483818"/>
              <ac:spMk id="53" creationId="{4DA63B55-C220-B7FA-53C9-E11303F1190E}"/>
            </ac:spMkLst>
          </pc:spChg>
          <pc:spChg chg="add del mod modVis">
            <ac:chgData name="Bernardo Lares" userId="c0b75bcc-c53b-4925-b19e-54b7afc94e15" providerId="ADAL" clId="{C15AA311-282E-4FE1-8D22-8A825A272403}" dt="2024-10-07T14:10:58.315" v="398"/>
            <ac:spMkLst>
              <pc:docMk/>
              <pc:sldMasterMk cId="3442277182" sldId="2147483788"/>
              <pc:sldLayoutMk cId="2050527937" sldId="2147483818"/>
              <ac:spMk id="54" creationId="{5A2E6099-80E3-5356-C5EE-1D33D9CADCE9}"/>
            </ac:spMkLst>
          </pc:spChg>
          <pc:graphicFrameChg chg="add mod ord modVis replST">
            <ac:chgData name="Bernardo Lares" userId="c0b75bcc-c53b-4925-b19e-54b7afc94e15" providerId="ADAL" clId="{C15AA311-282E-4FE1-8D22-8A825A272403}" dt="2024-10-08T15:25:10.129" v="1897"/>
            <ac:graphicFrameMkLst>
              <pc:docMk/>
              <pc:sldMasterMk cId="3442277182" sldId="2147483788"/>
              <pc:sldLayoutMk cId="2050527937" sldId="2147483818"/>
              <ac:graphicFrameMk id="44" creationId="{524950EA-7FEC-91CE-2FDC-D2595F5E8F73}"/>
            </ac:graphicFrameMkLst>
          </pc:graphicFrameChg>
          <pc:picChg chg="add mod">
            <ac:chgData name="Bernardo Lares" userId="c0b75bcc-c53b-4925-b19e-54b7afc94e15" providerId="ADAL" clId="{C15AA311-282E-4FE1-8D22-8A825A272403}" dt="2024-10-09T13:07:19.070" v="2243" actId="1038"/>
            <ac:picMkLst>
              <pc:docMk/>
              <pc:sldMasterMk cId="3442277182" sldId="2147483788"/>
              <pc:sldLayoutMk cId="2050527937" sldId="2147483818"/>
              <ac:picMk id="33" creationId="{73F9AE66-71EA-7BC7-D96E-0714663FFE52}"/>
            </ac:picMkLst>
          </pc:picChg>
          <pc:picChg chg="add mod">
            <ac:chgData name="Bernardo Lares" userId="c0b75bcc-c53b-4925-b19e-54b7afc94e15" providerId="ADAL" clId="{C15AA311-282E-4FE1-8D22-8A825A272403}" dt="2024-10-09T13:07:19.070" v="2243" actId="1038"/>
            <ac:picMkLst>
              <pc:docMk/>
              <pc:sldMasterMk cId="3442277182" sldId="2147483788"/>
              <pc:sldLayoutMk cId="2050527937" sldId="2147483818"/>
              <ac:picMk id="34" creationId="{68376A21-5077-A36E-2D50-66EB14DD6D6B}"/>
            </ac:picMkLst>
          </pc:picChg>
          <pc:picChg chg="add mod">
            <ac:chgData name="Bernardo Lares" userId="c0b75bcc-c53b-4925-b19e-54b7afc94e15" providerId="ADAL" clId="{C15AA311-282E-4FE1-8D22-8A825A272403}" dt="2024-10-09T13:07:19.070" v="2243" actId="1038"/>
            <ac:picMkLst>
              <pc:docMk/>
              <pc:sldMasterMk cId="3442277182" sldId="2147483788"/>
              <pc:sldLayoutMk cId="2050527937" sldId="2147483818"/>
              <ac:picMk id="35" creationId="{E002F006-80FD-2E58-DCB4-52FEFA3A2BD5}"/>
            </ac:picMkLst>
          </pc:picChg>
          <pc:picChg chg="add mod">
            <ac:chgData name="Bernardo Lares" userId="c0b75bcc-c53b-4925-b19e-54b7afc94e15" providerId="ADAL" clId="{C15AA311-282E-4FE1-8D22-8A825A272403}" dt="2024-10-09T13:07:53.175" v="2245" actId="465"/>
            <ac:picMkLst>
              <pc:docMk/>
              <pc:sldMasterMk cId="3442277182" sldId="2147483788"/>
              <pc:sldLayoutMk cId="2050527937" sldId="2147483818"/>
              <ac:picMk id="36" creationId="{BFDC6136-5D4F-F76B-5644-00EC86BA3DA0}"/>
            </ac:picMkLst>
          </pc:picChg>
          <pc:picChg chg="add mod">
            <ac:chgData name="Bernardo Lares" userId="c0b75bcc-c53b-4925-b19e-54b7afc94e15" providerId="ADAL" clId="{C15AA311-282E-4FE1-8D22-8A825A272403}" dt="2024-10-09T13:07:53.175" v="2245" actId="465"/>
            <ac:picMkLst>
              <pc:docMk/>
              <pc:sldMasterMk cId="3442277182" sldId="2147483788"/>
              <pc:sldLayoutMk cId="2050527937" sldId="2147483818"/>
              <ac:picMk id="37" creationId="{CEC24FD9-08C1-4C19-185A-583DE471E39C}"/>
            </ac:picMkLst>
          </pc:picChg>
          <pc:picChg chg="add mod">
            <ac:chgData name="Bernardo Lares" userId="c0b75bcc-c53b-4925-b19e-54b7afc94e15" providerId="ADAL" clId="{C15AA311-282E-4FE1-8D22-8A825A272403}" dt="2024-10-09T13:07:53.175" v="2245" actId="465"/>
            <ac:picMkLst>
              <pc:docMk/>
              <pc:sldMasterMk cId="3442277182" sldId="2147483788"/>
              <pc:sldLayoutMk cId="2050527937" sldId="2147483818"/>
              <ac:picMk id="38" creationId="{C22AF21B-1DE3-5C3D-81F7-CF1311049F19}"/>
            </ac:picMkLst>
          </pc:picChg>
          <pc:picChg chg="add del mod">
            <ac:chgData name="Bernardo Lares" userId="c0b75bcc-c53b-4925-b19e-54b7afc94e15" providerId="ADAL" clId="{C15AA311-282E-4FE1-8D22-8A825A272403}" dt="2024-10-09T13:07:53.175" v="2245" actId="465"/>
            <ac:picMkLst>
              <pc:docMk/>
              <pc:sldMasterMk cId="3442277182" sldId="2147483788"/>
              <pc:sldLayoutMk cId="2050527937" sldId="2147483818"/>
              <ac:picMk id="39" creationId="{60D2271D-0BA9-93D2-C4EE-2F409B5E79CE}"/>
            </ac:picMkLst>
          </pc:picChg>
        </pc:sldLayoutChg>
        <pc:sldLayoutChg chg="add del mod">
          <pc:chgData name="Bernardo Lares" userId="c0b75bcc-c53b-4925-b19e-54b7afc94e15" providerId="ADAL" clId="{C15AA311-282E-4FE1-8D22-8A825A272403}" dt="2024-10-07T15:02:08.669" v="818" actId="2696"/>
          <pc:sldLayoutMkLst>
            <pc:docMk/>
            <pc:sldMasterMk cId="3442277182" sldId="2147483788"/>
            <pc:sldLayoutMk cId="3259881016" sldId="2147483819"/>
          </pc:sldLayoutMkLst>
        </pc:sldLayoutChg>
        <pc:sldLayoutChg chg="addSp modSp add del mod">
          <pc:chgData name="Bernardo Lares" userId="c0b75bcc-c53b-4925-b19e-54b7afc94e15" providerId="ADAL" clId="{C15AA311-282E-4FE1-8D22-8A825A272403}" dt="2024-10-07T15:02:56.798" v="825" actId="2696"/>
          <pc:sldLayoutMkLst>
            <pc:docMk/>
            <pc:sldMasterMk cId="3442277182" sldId="2147483788"/>
            <pc:sldLayoutMk cId="3304159772" sldId="2147483819"/>
          </pc:sldLayoutMkLst>
          <pc:spChg chg="add mod">
            <ac:chgData name="Bernardo Lares" userId="c0b75bcc-c53b-4925-b19e-54b7afc94e15" providerId="ADAL" clId="{C15AA311-282E-4FE1-8D22-8A825A272403}" dt="2024-10-07T15:02:42.389" v="823" actId="12"/>
            <ac:spMkLst>
              <pc:docMk/>
              <pc:sldMasterMk cId="3442277182" sldId="2147483788"/>
              <pc:sldLayoutMk cId="3304159772" sldId="2147483819"/>
              <ac:spMk id="6" creationId="{FECC9993-AD6A-804B-F9D9-153681DD57E5}"/>
            </ac:spMkLst>
          </pc:spChg>
          <pc:spChg chg="add mod">
            <ac:chgData name="Bernardo Lares" userId="c0b75bcc-c53b-4925-b19e-54b7afc94e15" providerId="ADAL" clId="{C15AA311-282E-4FE1-8D22-8A825A272403}" dt="2024-10-07T15:02:42.389" v="823" actId="12"/>
            <ac:spMkLst>
              <pc:docMk/>
              <pc:sldMasterMk cId="3442277182" sldId="2147483788"/>
              <pc:sldLayoutMk cId="3304159772" sldId="2147483819"/>
              <ac:spMk id="10" creationId="{E7FB71F7-C458-6271-4659-9B6ACDE19058}"/>
            </ac:spMkLst>
          </pc:spChg>
          <pc:spChg chg="add mod">
            <ac:chgData name="Bernardo Lares" userId="c0b75bcc-c53b-4925-b19e-54b7afc94e15" providerId="ADAL" clId="{C15AA311-282E-4FE1-8D22-8A825A272403}" dt="2024-10-07T15:02:42.389" v="823" actId="12"/>
            <ac:spMkLst>
              <pc:docMk/>
              <pc:sldMasterMk cId="3442277182" sldId="2147483788"/>
              <pc:sldLayoutMk cId="3304159772" sldId="2147483819"/>
              <ac:spMk id="11" creationId="{6FDDE279-74BB-595A-A5E4-AD31C88507CE}"/>
            </ac:spMkLst>
          </pc:spChg>
          <pc:spChg chg="add mod">
            <ac:chgData name="Bernardo Lares" userId="c0b75bcc-c53b-4925-b19e-54b7afc94e15" providerId="ADAL" clId="{C15AA311-282E-4FE1-8D22-8A825A272403}" dt="2024-10-07T15:02:42.389" v="823" actId="12"/>
            <ac:spMkLst>
              <pc:docMk/>
              <pc:sldMasterMk cId="3442277182" sldId="2147483788"/>
              <pc:sldLayoutMk cId="3304159772" sldId="2147483819"/>
              <ac:spMk id="13" creationId="{E79373A2-1519-F9E9-8756-93134EF2A632}"/>
            </ac:spMkLst>
          </pc:spChg>
          <pc:spChg chg="add mod">
            <ac:chgData name="Bernardo Lares" userId="c0b75bcc-c53b-4925-b19e-54b7afc94e15" providerId="ADAL" clId="{C15AA311-282E-4FE1-8D22-8A825A272403}" dt="2024-10-07T15:02:42.389" v="823" actId="12"/>
            <ac:spMkLst>
              <pc:docMk/>
              <pc:sldMasterMk cId="3442277182" sldId="2147483788"/>
              <pc:sldLayoutMk cId="3304159772" sldId="2147483819"/>
              <ac:spMk id="14" creationId="{6FBB274D-441A-6117-E7CD-AF3FBEB1014A}"/>
            </ac:spMkLst>
          </pc:spChg>
          <pc:spChg chg="add mod">
            <ac:chgData name="Bernardo Lares" userId="c0b75bcc-c53b-4925-b19e-54b7afc94e15" providerId="ADAL" clId="{C15AA311-282E-4FE1-8D22-8A825A272403}" dt="2024-10-07T15:02:42.389" v="823" actId="12"/>
            <ac:spMkLst>
              <pc:docMk/>
              <pc:sldMasterMk cId="3442277182" sldId="2147483788"/>
              <pc:sldLayoutMk cId="3304159772" sldId="2147483819"/>
              <ac:spMk id="15" creationId="{61C0B926-CFA5-962B-0F32-A8093527FE45}"/>
            </ac:spMkLst>
          </pc:spChg>
          <pc:spChg chg="add mod">
            <ac:chgData name="Bernardo Lares" userId="c0b75bcc-c53b-4925-b19e-54b7afc94e15" providerId="ADAL" clId="{C15AA311-282E-4FE1-8D22-8A825A272403}" dt="2024-10-07T15:02:42.389" v="823" actId="12"/>
            <ac:spMkLst>
              <pc:docMk/>
              <pc:sldMasterMk cId="3442277182" sldId="2147483788"/>
              <pc:sldLayoutMk cId="3304159772" sldId="2147483819"/>
              <ac:spMk id="16" creationId="{34A24E09-1B4D-65EF-8600-F1BCA4603B3D}"/>
            </ac:spMkLst>
          </pc:spChg>
          <pc:spChg chg="add mod">
            <ac:chgData name="Bernardo Lares" userId="c0b75bcc-c53b-4925-b19e-54b7afc94e15" providerId="ADAL" clId="{C15AA311-282E-4FE1-8D22-8A825A272403}" dt="2024-10-07T15:02:42.389" v="823" actId="12"/>
            <ac:spMkLst>
              <pc:docMk/>
              <pc:sldMasterMk cId="3442277182" sldId="2147483788"/>
              <pc:sldLayoutMk cId="3304159772" sldId="2147483819"/>
              <ac:spMk id="17" creationId="{9DCB2C8E-72AD-6D0C-5E71-F3F2B69CA75D}"/>
            </ac:spMkLst>
          </pc:spChg>
          <pc:spChg chg="add mod">
            <ac:chgData name="Bernardo Lares" userId="c0b75bcc-c53b-4925-b19e-54b7afc94e15" providerId="ADAL" clId="{C15AA311-282E-4FE1-8D22-8A825A272403}" dt="2024-10-07T15:02:42.389" v="823" actId="12"/>
            <ac:spMkLst>
              <pc:docMk/>
              <pc:sldMasterMk cId="3442277182" sldId="2147483788"/>
              <pc:sldLayoutMk cId="3304159772" sldId="2147483819"/>
              <ac:spMk id="18" creationId="{44147D5A-077C-A883-4DBE-42E95A5FBB7D}"/>
            </ac:spMkLst>
          </pc:spChg>
          <pc:spChg chg="add mod">
            <ac:chgData name="Bernardo Lares" userId="c0b75bcc-c53b-4925-b19e-54b7afc94e15" providerId="ADAL" clId="{C15AA311-282E-4FE1-8D22-8A825A272403}" dt="2024-10-07T15:02:42.389" v="823" actId="12"/>
            <ac:spMkLst>
              <pc:docMk/>
              <pc:sldMasterMk cId="3442277182" sldId="2147483788"/>
              <pc:sldLayoutMk cId="3304159772" sldId="2147483819"/>
              <ac:spMk id="19" creationId="{27565D8F-1E75-5025-E7B9-71D696E1D6C6}"/>
            </ac:spMkLst>
          </pc:spChg>
          <pc:spChg chg="add mod">
            <ac:chgData name="Bernardo Lares" userId="c0b75bcc-c53b-4925-b19e-54b7afc94e15" providerId="ADAL" clId="{C15AA311-282E-4FE1-8D22-8A825A272403}" dt="2024-10-07T15:02:42.389" v="823" actId="12"/>
            <ac:spMkLst>
              <pc:docMk/>
              <pc:sldMasterMk cId="3442277182" sldId="2147483788"/>
              <pc:sldLayoutMk cId="3304159772" sldId="2147483819"/>
              <ac:spMk id="20" creationId="{4134C1F1-A8E1-0784-8993-AB91C7A52EF0}"/>
            </ac:spMkLst>
          </pc:spChg>
        </pc:sldLayoutChg>
        <pc:sldLayoutChg chg="addSp delSp modSp mod delAnim modAnim">
          <pc:chgData name="Bernardo Lares" userId="c0b75bcc-c53b-4925-b19e-54b7afc94e15" providerId="ADAL" clId="{C15AA311-282E-4FE1-8D22-8A825A272403}" dt="2024-10-08T15:25:38.288" v="1924"/>
          <pc:sldLayoutMkLst>
            <pc:docMk/>
            <pc:sldMasterMk cId="3442277182" sldId="2147483788"/>
            <pc:sldLayoutMk cId="4135425300" sldId="2147483819"/>
          </pc:sldLayoutMkLst>
          <pc:spChg chg="mod ord">
            <ac:chgData name="Bernardo Lares" userId="c0b75bcc-c53b-4925-b19e-54b7afc94e15" providerId="ADAL" clId="{C15AA311-282E-4FE1-8D22-8A825A272403}" dt="2024-10-07T15:03:22.636" v="872"/>
            <ac:spMkLst>
              <pc:docMk/>
              <pc:sldMasterMk cId="3442277182" sldId="2147483788"/>
              <pc:sldLayoutMk cId="4135425300" sldId="2147483819"/>
              <ac:spMk id="2" creationId="{BB627EE7-29BC-7E7B-5DF4-1D96E07AD3F9}"/>
            </ac:spMkLst>
          </pc:spChg>
          <pc:spChg chg="mod ord">
            <ac:chgData name="Bernardo Lares" userId="c0b75bcc-c53b-4925-b19e-54b7afc94e15" providerId="ADAL" clId="{C15AA311-282E-4FE1-8D22-8A825A272403}" dt="2024-10-07T15:03:22.617" v="858"/>
            <ac:spMkLst>
              <pc:docMk/>
              <pc:sldMasterMk cId="3442277182" sldId="2147483788"/>
              <pc:sldLayoutMk cId="4135425300" sldId="2147483819"/>
              <ac:spMk id="3" creationId="{62E57A6D-CCB0-DF2D-0D9A-6184CE396941}"/>
            </ac:spMkLst>
          </pc:spChg>
          <pc:spChg chg="mod ord">
            <ac:chgData name="Bernardo Lares" userId="c0b75bcc-c53b-4925-b19e-54b7afc94e15" providerId="ADAL" clId="{C15AA311-282E-4FE1-8D22-8A825A272403}" dt="2024-10-07T15:03:22.627" v="860"/>
            <ac:spMkLst>
              <pc:docMk/>
              <pc:sldMasterMk cId="3442277182" sldId="2147483788"/>
              <pc:sldLayoutMk cId="4135425300" sldId="2147483819"/>
              <ac:spMk id="4" creationId="{FC42BDB7-A7FE-AA4E-3952-EBCCAC237C98}"/>
            </ac:spMkLst>
          </pc:spChg>
          <pc:spChg chg="mod ord">
            <ac:chgData name="Bernardo Lares" userId="c0b75bcc-c53b-4925-b19e-54b7afc94e15" providerId="ADAL" clId="{C15AA311-282E-4FE1-8D22-8A825A272403}" dt="2024-10-07T15:03:22.627" v="862"/>
            <ac:spMkLst>
              <pc:docMk/>
              <pc:sldMasterMk cId="3442277182" sldId="2147483788"/>
              <pc:sldLayoutMk cId="4135425300" sldId="2147483819"/>
              <ac:spMk id="5" creationId="{676D6505-B9A2-3A36-B9B6-3E3CF07A64AF}"/>
            </ac:spMkLst>
          </pc:spChg>
          <pc:spChg chg="add del mod modVis">
            <ac:chgData name="Bernardo Lares" userId="c0b75bcc-c53b-4925-b19e-54b7afc94e15" providerId="ADAL" clId="{C15AA311-282E-4FE1-8D22-8A825A272403}" dt="2024-10-08T15:25:38.287" v="1922"/>
            <ac:spMkLst>
              <pc:docMk/>
              <pc:sldMasterMk cId="3442277182" sldId="2147483788"/>
              <pc:sldLayoutMk cId="4135425300" sldId="2147483819"/>
              <ac:spMk id="6" creationId="{72DE4E76-371A-977C-20D5-505715F054D1}"/>
            </ac:spMkLst>
          </pc:spChg>
          <pc:spChg chg="del mod ord">
            <ac:chgData name="Bernardo Lares" userId="c0b75bcc-c53b-4925-b19e-54b7afc94e15" providerId="ADAL" clId="{C15AA311-282E-4FE1-8D22-8A825A272403}" dt="2024-10-07T15:03:27.447" v="910" actId="478"/>
            <ac:spMkLst>
              <pc:docMk/>
              <pc:sldMasterMk cId="3442277182" sldId="2147483788"/>
              <pc:sldLayoutMk cId="4135425300" sldId="2147483819"/>
              <ac:spMk id="6" creationId="{FECC9993-AD6A-804B-F9D9-153681DD57E5}"/>
            </ac:spMkLst>
          </pc:spChg>
          <pc:spChg chg="mod ord">
            <ac:chgData name="Bernardo Lares" userId="c0b75bcc-c53b-4925-b19e-54b7afc94e15" providerId="ADAL" clId="{C15AA311-282E-4FE1-8D22-8A825A272403}" dt="2024-10-07T15:04:18.704" v="932" actId="2711"/>
            <ac:spMkLst>
              <pc:docMk/>
              <pc:sldMasterMk cId="3442277182" sldId="2147483788"/>
              <pc:sldLayoutMk cId="4135425300" sldId="2147483819"/>
              <ac:spMk id="7" creationId="{4B3924AB-56D4-343D-306B-195A924E9EF9}"/>
            </ac:spMkLst>
          </pc:spChg>
          <pc:spChg chg="mod ord">
            <ac:chgData name="Bernardo Lares" userId="c0b75bcc-c53b-4925-b19e-54b7afc94e15" providerId="ADAL" clId="{C15AA311-282E-4FE1-8D22-8A825A272403}" dt="2024-10-08T15:25:38.264" v="1899" actId="948"/>
            <ac:spMkLst>
              <pc:docMk/>
              <pc:sldMasterMk cId="3442277182" sldId="2147483788"/>
              <pc:sldLayoutMk cId="4135425300" sldId="2147483819"/>
              <ac:spMk id="8" creationId="{3484351E-5906-1465-ED52-DA75D3630DE8}"/>
            </ac:spMkLst>
          </pc:spChg>
          <pc:spChg chg="mod ord">
            <ac:chgData name="Bernardo Lares" userId="c0b75bcc-c53b-4925-b19e-54b7afc94e15" providerId="ADAL" clId="{C15AA311-282E-4FE1-8D22-8A825A272403}" dt="2024-10-07T15:04:46.201" v="987" actId="962"/>
            <ac:spMkLst>
              <pc:docMk/>
              <pc:sldMasterMk cId="3442277182" sldId="2147483788"/>
              <pc:sldLayoutMk cId="4135425300" sldId="2147483819"/>
              <ac:spMk id="9" creationId="{62BDBB70-10FD-DDED-C062-9AA92765646E}"/>
            </ac:spMkLst>
          </pc:spChg>
          <pc:spChg chg="mod ord">
            <ac:chgData name="Bernardo Lares" userId="c0b75bcc-c53b-4925-b19e-54b7afc94e15" providerId="ADAL" clId="{C15AA311-282E-4FE1-8D22-8A825A272403}" dt="2024-10-07T15:03:22.636" v="876"/>
            <ac:spMkLst>
              <pc:docMk/>
              <pc:sldMasterMk cId="3442277182" sldId="2147483788"/>
              <pc:sldLayoutMk cId="4135425300" sldId="2147483819"/>
              <ac:spMk id="10" creationId="{E7FB71F7-C458-6271-4659-9B6ACDE19058}"/>
            </ac:spMkLst>
          </pc:spChg>
          <pc:spChg chg="mod ord">
            <ac:chgData name="Bernardo Lares" userId="c0b75bcc-c53b-4925-b19e-54b7afc94e15" providerId="ADAL" clId="{C15AA311-282E-4FE1-8D22-8A825A272403}" dt="2024-10-08T10:45:22.038" v="1036" actId="1037"/>
            <ac:spMkLst>
              <pc:docMk/>
              <pc:sldMasterMk cId="3442277182" sldId="2147483788"/>
              <pc:sldLayoutMk cId="4135425300" sldId="2147483819"/>
              <ac:spMk id="11" creationId="{6FDDE279-74BB-595A-A5E4-AD31C88507CE}"/>
            </ac:spMkLst>
          </pc:spChg>
          <pc:spChg chg="mod ord">
            <ac:chgData name="Bernardo Lares" userId="c0b75bcc-c53b-4925-b19e-54b7afc94e15" providerId="ADAL" clId="{C15AA311-282E-4FE1-8D22-8A825A272403}" dt="2024-10-07T15:03:22.627" v="870"/>
            <ac:spMkLst>
              <pc:docMk/>
              <pc:sldMasterMk cId="3442277182" sldId="2147483788"/>
              <pc:sldLayoutMk cId="4135425300" sldId="2147483819"/>
              <ac:spMk id="12" creationId="{8DBDFC7D-EB75-1C71-FBB6-74679DF5FB23}"/>
            </ac:spMkLst>
          </pc:spChg>
          <pc:spChg chg="mod ord">
            <ac:chgData name="Bernardo Lares" userId="c0b75bcc-c53b-4925-b19e-54b7afc94e15" providerId="ADAL" clId="{C15AA311-282E-4FE1-8D22-8A825A272403}" dt="2024-10-07T15:04:12.577" v="931" actId="2711"/>
            <ac:spMkLst>
              <pc:docMk/>
              <pc:sldMasterMk cId="3442277182" sldId="2147483788"/>
              <pc:sldLayoutMk cId="4135425300" sldId="2147483819"/>
              <ac:spMk id="13" creationId="{E79373A2-1519-F9E9-8756-93134EF2A632}"/>
            </ac:spMkLst>
          </pc:spChg>
          <pc:spChg chg="mod ord">
            <ac:chgData name="Bernardo Lares" userId="c0b75bcc-c53b-4925-b19e-54b7afc94e15" providerId="ADAL" clId="{C15AA311-282E-4FE1-8D22-8A825A272403}" dt="2024-10-07T15:04:12.577" v="931" actId="2711"/>
            <ac:spMkLst>
              <pc:docMk/>
              <pc:sldMasterMk cId="3442277182" sldId="2147483788"/>
              <pc:sldLayoutMk cId="4135425300" sldId="2147483819"/>
              <ac:spMk id="14" creationId="{6FBB274D-441A-6117-E7CD-AF3FBEB1014A}"/>
            </ac:spMkLst>
          </pc:spChg>
          <pc:spChg chg="mod ord">
            <ac:chgData name="Bernardo Lares" userId="c0b75bcc-c53b-4925-b19e-54b7afc94e15" providerId="ADAL" clId="{C15AA311-282E-4FE1-8D22-8A825A272403}" dt="2024-10-08T10:44:08.279" v="1007" actId="1035"/>
            <ac:spMkLst>
              <pc:docMk/>
              <pc:sldMasterMk cId="3442277182" sldId="2147483788"/>
              <pc:sldLayoutMk cId="4135425300" sldId="2147483819"/>
              <ac:spMk id="15" creationId="{61C0B926-CFA5-962B-0F32-A8093527FE45}"/>
            </ac:spMkLst>
          </pc:spChg>
          <pc:spChg chg="del">
            <ac:chgData name="Bernardo Lares" userId="c0b75bcc-c53b-4925-b19e-54b7afc94e15" providerId="ADAL" clId="{C15AA311-282E-4FE1-8D22-8A825A272403}" dt="2024-10-07T15:03:14.483" v="830" actId="478"/>
            <ac:spMkLst>
              <pc:docMk/>
              <pc:sldMasterMk cId="3442277182" sldId="2147483788"/>
              <pc:sldLayoutMk cId="4135425300" sldId="2147483819"/>
              <ac:spMk id="16" creationId="{34A24E09-1B4D-65EF-8600-F1BCA4603B3D}"/>
            </ac:spMkLst>
          </pc:spChg>
          <pc:spChg chg="mod ord">
            <ac:chgData name="Bernardo Lares" userId="c0b75bcc-c53b-4925-b19e-54b7afc94e15" providerId="ADAL" clId="{C15AA311-282E-4FE1-8D22-8A825A272403}" dt="2024-10-07T15:04:12.577" v="931" actId="2711"/>
            <ac:spMkLst>
              <pc:docMk/>
              <pc:sldMasterMk cId="3442277182" sldId="2147483788"/>
              <pc:sldLayoutMk cId="4135425300" sldId="2147483819"/>
              <ac:spMk id="17" creationId="{9DCB2C8E-72AD-6D0C-5E71-F3F2B69CA75D}"/>
            </ac:spMkLst>
          </pc:spChg>
          <pc:spChg chg="mod ord">
            <ac:chgData name="Bernardo Lares" userId="c0b75bcc-c53b-4925-b19e-54b7afc94e15" providerId="ADAL" clId="{C15AA311-282E-4FE1-8D22-8A825A272403}" dt="2024-10-07T15:03:22.644" v="888"/>
            <ac:spMkLst>
              <pc:docMk/>
              <pc:sldMasterMk cId="3442277182" sldId="2147483788"/>
              <pc:sldLayoutMk cId="4135425300" sldId="2147483819"/>
              <ac:spMk id="18" creationId="{44147D5A-077C-A883-4DBE-42E95A5FBB7D}"/>
            </ac:spMkLst>
          </pc:spChg>
          <pc:spChg chg="mod ord">
            <ac:chgData name="Bernardo Lares" userId="c0b75bcc-c53b-4925-b19e-54b7afc94e15" providerId="ADAL" clId="{C15AA311-282E-4FE1-8D22-8A825A272403}" dt="2024-10-08T10:45:34.884" v="1042" actId="121"/>
            <ac:spMkLst>
              <pc:docMk/>
              <pc:sldMasterMk cId="3442277182" sldId="2147483788"/>
              <pc:sldLayoutMk cId="4135425300" sldId="2147483819"/>
              <ac:spMk id="19" creationId="{27565D8F-1E75-5025-E7B9-71D696E1D6C6}"/>
            </ac:spMkLst>
          </pc:spChg>
          <pc:spChg chg="mod ord">
            <ac:chgData name="Bernardo Lares" userId="c0b75bcc-c53b-4925-b19e-54b7afc94e15" providerId="ADAL" clId="{C15AA311-282E-4FE1-8D22-8A825A272403}" dt="2024-10-08T10:44:49.565" v="1008" actId="108"/>
            <ac:spMkLst>
              <pc:docMk/>
              <pc:sldMasterMk cId="3442277182" sldId="2147483788"/>
              <pc:sldLayoutMk cId="4135425300" sldId="2147483819"/>
              <ac:spMk id="20" creationId="{4134C1F1-A8E1-0784-8993-AB91C7A52EF0}"/>
            </ac:spMkLst>
          </pc:spChg>
          <pc:spChg chg="add del mod">
            <ac:chgData name="Bernardo Lares" userId="c0b75bcc-c53b-4925-b19e-54b7afc94e15" providerId="ADAL" clId="{C15AA311-282E-4FE1-8D22-8A825A272403}" dt="2024-10-07T15:03:12.954" v="829" actId="21"/>
            <ac:spMkLst>
              <pc:docMk/>
              <pc:sldMasterMk cId="3442277182" sldId="2147483788"/>
              <pc:sldLayoutMk cId="4135425300" sldId="2147483819"/>
              <ac:spMk id="21" creationId="{998A1D13-ABD1-479D-7286-78DE8E867C09}"/>
            </ac:spMkLst>
          </pc:spChg>
          <pc:spChg chg="add mod ord">
            <ac:chgData name="Bernardo Lares" userId="c0b75bcc-c53b-4925-b19e-54b7afc94e15" providerId="ADAL" clId="{C15AA311-282E-4FE1-8D22-8A825A272403}" dt="2024-10-07T15:03:22.617" v="856"/>
            <ac:spMkLst>
              <pc:docMk/>
              <pc:sldMasterMk cId="3442277182" sldId="2147483788"/>
              <pc:sldLayoutMk cId="4135425300" sldId="2147483819"/>
              <ac:spMk id="22" creationId="{998A1D13-ABD1-479D-7286-78DE8E867C09}"/>
            </ac:spMkLst>
          </pc:spChg>
          <pc:spChg chg="add del mod modVis">
            <ac:chgData name="Bernardo Lares" userId="c0b75bcc-c53b-4925-b19e-54b7afc94e15" providerId="ADAL" clId="{C15AA311-282E-4FE1-8D22-8A825A272403}" dt="2024-10-07T15:03:22.652" v="894"/>
            <ac:spMkLst>
              <pc:docMk/>
              <pc:sldMasterMk cId="3442277182" sldId="2147483788"/>
              <pc:sldLayoutMk cId="4135425300" sldId="2147483819"/>
              <ac:spMk id="23" creationId="{C8D3A052-0470-C0B0-FBF7-CA4B521E3300}"/>
            </ac:spMkLst>
          </pc:spChg>
          <pc:spChg chg="add mod">
            <ac:chgData name="Bernardo Lares" userId="c0b75bcc-c53b-4925-b19e-54b7afc94e15" providerId="ADAL" clId="{C15AA311-282E-4FE1-8D22-8A825A272403}" dt="2024-10-07T15:03:52.316" v="929" actId="113"/>
            <ac:spMkLst>
              <pc:docMk/>
              <pc:sldMasterMk cId="3442277182" sldId="2147483788"/>
              <pc:sldLayoutMk cId="4135425300" sldId="2147483819"/>
              <ac:spMk id="25" creationId="{B750D162-A6FC-3A58-A9E6-924DBFC23D84}"/>
            </ac:spMkLst>
          </pc:spChg>
          <pc:spChg chg="add del mod modVis">
            <ac:chgData name="Bernardo Lares" userId="c0b75bcc-c53b-4925-b19e-54b7afc94e15" providerId="ADAL" clId="{C15AA311-282E-4FE1-8D22-8A825A272403}" dt="2024-10-07T15:04:28.684" v="957"/>
            <ac:spMkLst>
              <pc:docMk/>
              <pc:sldMasterMk cId="3442277182" sldId="2147483788"/>
              <pc:sldLayoutMk cId="4135425300" sldId="2147483819"/>
              <ac:spMk id="26" creationId="{616022DF-650A-B553-A2AB-2A5A06C95343}"/>
            </ac:spMkLst>
          </pc:spChg>
          <pc:spChg chg="add del mod modVis">
            <ac:chgData name="Bernardo Lares" userId="c0b75bcc-c53b-4925-b19e-54b7afc94e15" providerId="ADAL" clId="{C15AA311-282E-4FE1-8D22-8A825A272403}" dt="2024-10-07T15:04:42.957" v="984"/>
            <ac:spMkLst>
              <pc:docMk/>
              <pc:sldMasterMk cId="3442277182" sldId="2147483788"/>
              <pc:sldLayoutMk cId="4135425300" sldId="2147483819"/>
              <ac:spMk id="27" creationId="{4AFFA62C-FEF7-C284-9710-5446E2903F71}"/>
            </ac:spMkLst>
          </pc:spChg>
          <pc:graphicFrameChg chg="add mod ord modVis replST">
            <ac:chgData name="Bernardo Lares" userId="c0b75bcc-c53b-4925-b19e-54b7afc94e15" providerId="ADAL" clId="{C15AA311-282E-4FE1-8D22-8A825A272403}" dt="2024-10-08T15:25:38.288" v="1924"/>
            <ac:graphicFrameMkLst>
              <pc:docMk/>
              <pc:sldMasterMk cId="3442277182" sldId="2147483788"/>
              <pc:sldLayoutMk cId="4135425300" sldId="2147483819"/>
              <ac:graphicFrameMk id="24" creationId="{00D8C276-70E3-1124-D032-556F8DD36059}"/>
            </ac:graphicFrameMkLst>
          </pc:graphicFrameChg>
        </pc:sldLayoutChg>
        <pc:sldLayoutChg chg="addSp delSp modSp add mod">
          <pc:chgData name="Bernardo Lares" userId="c0b75bcc-c53b-4925-b19e-54b7afc94e15" providerId="ADAL" clId="{C15AA311-282E-4FE1-8D22-8A825A272403}" dt="2024-10-08T15:45:05.795" v="1964" actId="20577"/>
          <pc:sldLayoutMkLst>
            <pc:docMk/>
            <pc:sldMasterMk cId="3442277182" sldId="2147483788"/>
            <pc:sldLayoutMk cId="3104797970" sldId="2147483820"/>
          </pc:sldLayoutMkLst>
          <pc:spChg chg="add mod">
            <ac:chgData name="Bernardo Lares" userId="c0b75bcc-c53b-4925-b19e-54b7afc94e15" providerId="ADAL" clId="{C15AA311-282E-4FE1-8D22-8A825A272403}" dt="2024-10-08T15:45:05.795" v="1964" actId="20577"/>
            <ac:spMkLst>
              <pc:docMk/>
              <pc:sldMasterMk cId="3442277182" sldId="2147483788"/>
              <pc:sldLayoutMk cId="3104797970" sldId="2147483820"/>
              <ac:spMk id="6" creationId="{419A6C63-D432-9A3E-CB96-F7EAA27D2A64}"/>
            </ac:spMkLst>
          </pc:spChg>
          <pc:spChg chg="mod">
            <ac:chgData name="Bernardo Lares" userId="c0b75bcc-c53b-4925-b19e-54b7afc94e15" providerId="ADAL" clId="{C15AA311-282E-4FE1-8D22-8A825A272403}" dt="2024-10-08T12:42:40.492" v="1129" actId="948"/>
            <ac:spMkLst>
              <pc:docMk/>
              <pc:sldMasterMk cId="3442277182" sldId="2147483788"/>
              <pc:sldLayoutMk cId="3104797970" sldId="2147483820"/>
              <ac:spMk id="9" creationId="{3A7A86B9-637F-F18A-3604-5A44F7C4442F}"/>
            </ac:spMkLst>
          </pc:spChg>
          <pc:spChg chg="del">
            <ac:chgData name="Bernardo Lares" userId="c0b75bcc-c53b-4925-b19e-54b7afc94e15" providerId="ADAL" clId="{C15AA311-282E-4FE1-8D22-8A825A272403}" dt="2024-10-08T12:42:11.847" v="1106" actId="478"/>
            <ac:spMkLst>
              <pc:docMk/>
              <pc:sldMasterMk cId="3442277182" sldId="2147483788"/>
              <pc:sldLayoutMk cId="3104797970" sldId="2147483820"/>
              <ac:spMk id="11" creationId="{0222423B-5423-CFD3-AB33-EAB059EC2845}"/>
            </ac:spMkLst>
          </pc:spChg>
          <pc:spChg chg="del">
            <ac:chgData name="Bernardo Lares" userId="c0b75bcc-c53b-4925-b19e-54b7afc94e15" providerId="ADAL" clId="{C15AA311-282E-4FE1-8D22-8A825A272403}" dt="2024-10-08T12:42:13.499" v="1107" actId="478"/>
            <ac:spMkLst>
              <pc:docMk/>
              <pc:sldMasterMk cId="3442277182" sldId="2147483788"/>
              <pc:sldLayoutMk cId="3104797970" sldId="2147483820"/>
              <ac:spMk id="12" creationId="{DF1D6677-401A-F2BA-502D-D2EEA5B19D35}"/>
            </ac:spMkLst>
          </pc:spChg>
          <pc:graphicFrameChg chg="mod">
            <ac:chgData name="Bernardo Lares" userId="c0b75bcc-c53b-4925-b19e-54b7afc94e15" providerId="ADAL" clId="{C15AA311-282E-4FE1-8D22-8A825A272403}" dt="2024-10-08T12:42:40.508" v="1131"/>
            <ac:graphicFrameMkLst>
              <pc:docMk/>
              <pc:sldMasterMk cId="3442277182" sldId="2147483788"/>
              <pc:sldLayoutMk cId="3104797970" sldId="2147483820"/>
              <ac:graphicFrameMk id="8" creationId="{B21CDEB8-E44B-BE7A-700F-DD2933667B60}"/>
            </ac:graphicFrameMkLst>
          </pc:graphicFrameChg>
        </pc:sldLayoutChg>
        <pc:sldLayoutChg chg="addSp delSp modSp add mod ord">
          <pc:chgData name="Bernardo Lares" userId="c0b75bcc-c53b-4925-b19e-54b7afc94e15" providerId="ADAL" clId="{C15AA311-282E-4FE1-8D22-8A825A272403}" dt="2024-10-09T07:25:14.971" v="2131" actId="1035"/>
          <pc:sldLayoutMkLst>
            <pc:docMk/>
            <pc:sldMasterMk cId="3442277182" sldId="2147483788"/>
            <pc:sldLayoutMk cId="2175404669" sldId="2147483821"/>
          </pc:sldLayoutMkLst>
          <pc:spChg chg="mod ord">
            <ac:chgData name="Bernardo Lares" userId="c0b75bcc-c53b-4925-b19e-54b7afc94e15" providerId="ADAL" clId="{C15AA311-282E-4FE1-8D22-8A825A272403}" dt="2024-10-09T07:24:27.551" v="2096"/>
            <ac:spMkLst>
              <pc:docMk/>
              <pc:sldMasterMk cId="3442277182" sldId="2147483788"/>
              <pc:sldLayoutMk cId="2175404669" sldId="2147483821"/>
              <ac:spMk id="2" creationId="{BB627EE7-29BC-7E7B-5DF4-1D96E07AD3F9}"/>
            </ac:spMkLst>
          </pc:spChg>
          <pc:spChg chg="mod ord">
            <ac:chgData name="Bernardo Lares" userId="c0b75bcc-c53b-4925-b19e-54b7afc94e15" providerId="ADAL" clId="{C15AA311-282E-4FE1-8D22-8A825A272403}" dt="2024-10-09T07:24:27.548" v="2084"/>
            <ac:spMkLst>
              <pc:docMk/>
              <pc:sldMasterMk cId="3442277182" sldId="2147483788"/>
              <pc:sldLayoutMk cId="2175404669" sldId="2147483821"/>
              <ac:spMk id="3" creationId="{62E57A6D-CCB0-DF2D-0D9A-6184CE396941}"/>
            </ac:spMkLst>
          </pc:spChg>
          <pc:spChg chg="mod ord">
            <ac:chgData name="Bernardo Lares" userId="c0b75bcc-c53b-4925-b19e-54b7afc94e15" providerId="ADAL" clId="{C15AA311-282E-4FE1-8D22-8A825A272403}" dt="2024-10-09T07:24:27.549" v="2086"/>
            <ac:spMkLst>
              <pc:docMk/>
              <pc:sldMasterMk cId="3442277182" sldId="2147483788"/>
              <pc:sldLayoutMk cId="2175404669" sldId="2147483821"/>
              <ac:spMk id="4" creationId="{FC42BDB7-A7FE-AA4E-3952-EBCCAC237C98}"/>
            </ac:spMkLst>
          </pc:spChg>
          <pc:spChg chg="mod ord">
            <ac:chgData name="Bernardo Lares" userId="c0b75bcc-c53b-4925-b19e-54b7afc94e15" providerId="ADAL" clId="{C15AA311-282E-4FE1-8D22-8A825A272403}" dt="2024-10-09T07:24:27.549" v="2088"/>
            <ac:spMkLst>
              <pc:docMk/>
              <pc:sldMasterMk cId="3442277182" sldId="2147483788"/>
              <pc:sldLayoutMk cId="2175404669" sldId="2147483821"/>
              <ac:spMk id="5" creationId="{676D6505-B9A2-3A36-B9B6-3E3CF07A64AF}"/>
            </ac:spMkLst>
          </pc:spChg>
          <pc:spChg chg="add mod ord">
            <ac:chgData name="Bernardo Lares" userId="c0b75bcc-c53b-4925-b19e-54b7afc94e15" providerId="ADAL" clId="{C15AA311-282E-4FE1-8D22-8A825A272403}" dt="2024-10-09T07:25:14.971" v="2131" actId="1035"/>
            <ac:spMkLst>
              <pc:docMk/>
              <pc:sldMasterMk cId="3442277182" sldId="2147483788"/>
              <pc:sldLayoutMk cId="2175404669" sldId="2147483821"/>
              <ac:spMk id="6" creationId="{C6260EC1-6F67-25A7-A8CD-C4504B926D94}"/>
            </ac:spMkLst>
          </pc:spChg>
          <pc:spChg chg="add del mod">
            <ac:chgData name="Bernardo Lares" userId="c0b75bcc-c53b-4925-b19e-54b7afc94e15" providerId="ADAL" clId="{C15AA311-282E-4FE1-8D22-8A825A272403}" dt="2024-10-08T12:47:59.572" v="1205" actId="478"/>
            <ac:spMkLst>
              <pc:docMk/>
              <pc:sldMasterMk cId="3442277182" sldId="2147483788"/>
              <pc:sldLayoutMk cId="2175404669" sldId="2147483821"/>
              <ac:spMk id="6" creationId="{EE2B1C9B-F4F2-E53C-C14C-67472A89DC97}"/>
            </ac:spMkLst>
          </pc:spChg>
          <pc:spChg chg="add del mod modVis">
            <ac:chgData name="Bernardo Lares" userId="c0b75bcc-c53b-4925-b19e-54b7afc94e15" providerId="ADAL" clId="{C15AA311-282E-4FE1-8D22-8A825A272403}" dt="2024-10-09T07:24:05.221" v="2067"/>
            <ac:spMkLst>
              <pc:docMk/>
              <pc:sldMasterMk cId="3442277182" sldId="2147483788"/>
              <pc:sldLayoutMk cId="2175404669" sldId="2147483821"/>
              <ac:spMk id="7" creationId="{47F2ECD2-60FF-A556-EE49-0C38342D154B}"/>
            </ac:spMkLst>
          </pc:spChg>
          <pc:spChg chg="del">
            <ac:chgData name="Bernardo Lares" userId="c0b75bcc-c53b-4925-b19e-54b7afc94e15" providerId="ADAL" clId="{C15AA311-282E-4FE1-8D22-8A825A272403}" dt="2024-10-08T12:46:42.293" v="1139" actId="478"/>
            <ac:spMkLst>
              <pc:docMk/>
              <pc:sldMasterMk cId="3442277182" sldId="2147483788"/>
              <pc:sldLayoutMk cId="2175404669" sldId="2147483821"/>
              <ac:spMk id="7" creationId="{4B3924AB-56D4-343D-306B-195A924E9EF9}"/>
            </ac:spMkLst>
          </pc:spChg>
          <pc:spChg chg="mod ord">
            <ac:chgData name="Bernardo Lares" userId="c0b75bcc-c53b-4925-b19e-54b7afc94e15" providerId="ADAL" clId="{C15AA311-282E-4FE1-8D22-8A825A272403}" dt="2024-10-09T07:24:27.550" v="2090"/>
            <ac:spMkLst>
              <pc:docMk/>
              <pc:sldMasterMk cId="3442277182" sldId="2147483788"/>
              <pc:sldLayoutMk cId="2175404669" sldId="2147483821"/>
              <ac:spMk id="8" creationId="{3484351E-5906-1465-ED52-DA75D3630DE8}"/>
            </ac:spMkLst>
          </pc:spChg>
          <pc:spChg chg="mod ord">
            <ac:chgData name="Bernardo Lares" userId="c0b75bcc-c53b-4925-b19e-54b7afc94e15" providerId="ADAL" clId="{C15AA311-282E-4FE1-8D22-8A825A272403}" dt="2024-10-09T07:24:27.550" v="2092"/>
            <ac:spMkLst>
              <pc:docMk/>
              <pc:sldMasterMk cId="3442277182" sldId="2147483788"/>
              <pc:sldLayoutMk cId="2175404669" sldId="2147483821"/>
              <ac:spMk id="9" creationId="{62BDBB70-10FD-DDED-C062-9AA92765646E}"/>
            </ac:spMkLst>
          </pc:spChg>
          <pc:spChg chg="add mod ord">
            <ac:chgData name="Bernardo Lares" userId="c0b75bcc-c53b-4925-b19e-54b7afc94e15" providerId="ADAL" clId="{C15AA311-282E-4FE1-8D22-8A825A272403}" dt="2024-10-09T07:25:14.971" v="2131" actId="1035"/>
            <ac:spMkLst>
              <pc:docMk/>
              <pc:sldMasterMk cId="3442277182" sldId="2147483788"/>
              <pc:sldLayoutMk cId="2175404669" sldId="2147483821"/>
              <ac:spMk id="10" creationId="{2D051CDD-DE24-0521-89AB-18A378F02770}"/>
            </ac:spMkLst>
          </pc:spChg>
          <pc:spChg chg="del">
            <ac:chgData name="Bernardo Lares" userId="c0b75bcc-c53b-4925-b19e-54b7afc94e15" providerId="ADAL" clId="{C15AA311-282E-4FE1-8D22-8A825A272403}" dt="2024-10-08T12:46:44.905" v="1141" actId="478"/>
            <ac:spMkLst>
              <pc:docMk/>
              <pc:sldMasterMk cId="3442277182" sldId="2147483788"/>
              <pc:sldLayoutMk cId="2175404669" sldId="2147483821"/>
              <ac:spMk id="10" creationId="{E7FB71F7-C458-6271-4659-9B6ACDE19058}"/>
            </ac:spMkLst>
          </pc:spChg>
          <pc:spChg chg="del">
            <ac:chgData name="Bernardo Lares" userId="c0b75bcc-c53b-4925-b19e-54b7afc94e15" providerId="ADAL" clId="{C15AA311-282E-4FE1-8D22-8A825A272403}" dt="2024-10-08T12:46:47.356" v="1142" actId="478"/>
            <ac:spMkLst>
              <pc:docMk/>
              <pc:sldMasterMk cId="3442277182" sldId="2147483788"/>
              <pc:sldLayoutMk cId="2175404669" sldId="2147483821"/>
              <ac:spMk id="11" creationId="{6FDDE279-74BB-595A-A5E4-AD31C88507CE}"/>
            </ac:spMkLst>
          </pc:spChg>
          <pc:spChg chg="mod ord">
            <ac:chgData name="Bernardo Lares" userId="c0b75bcc-c53b-4925-b19e-54b7afc94e15" providerId="ADAL" clId="{C15AA311-282E-4FE1-8D22-8A825A272403}" dt="2024-10-09T07:24:27.551" v="2094"/>
            <ac:spMkLst>
              <pc:docMk/>
              <pc:sldMasterMk cId="3442277182" sldId="2147483788"/>
              <pc:sldLayoutMk cId="2175404669" sldId="2147483821"/>
              <ac:spMk id="12" creationId="{8DBDFC7D-EB75-1C71-FBB6-74679DF5FB23}"/>
            </ac:spMkLst>
          </pc:spChg>
          <pc:spChg chg="del">
            <ac:chgData name="Bernardo Lares" userId="c0b75bcc-c53b-4925-b19e-54b7afc94e15" providerId="ADAL" clId="{C15AA311-282E-4FE1-8D22-8A825A272403}" dt="2024-10-08T12:46:47.356" v="1142" actId="478"/>
            <ac:spMkLst>
              <pc:docMk/>
              <pc:sldMasterMk cId="3442277182" sldId="2147483788"/>
              <pc:sldLayoutMk cId="2175404669" sldId="2147483821"/>
              <ac:spMk id="13" creationId="{E79373A2-1519-F9E9-8756-93134EF2A632}"/>
            </ac:spMkLst>
          </pc:spChg>
          <pc:spChg chg="del">
            <ac:chgData name="Bernardo Lares" userId="c0b75bcc-c53b-4925-b19e-54b7afc94e15" providerId="ADAL" clId="{C15AA311-282E-4FE1-8D22-8A825A272403}" dt="2024-10-08T12:46:53.236" v="1144" actId="478"/>
            <ac:spMkLst>
              <pc:docMk/>
              <pc:sldMasterMk cId="3442277182" sldId="2147483788"/>
              <pc:sldLayoutMk cId="2175404669" sldId="2147483821"/>
              <ac:spMk id="14" creationId="{6FBB274D-441A-6117-E7CD-AF3FBEB1014A}"/>
            </ac:spMkLst>
          </pc:spChg>
          <pc:spChg chg="del mod">
            <ac:chgData name="Bernardo Lares" userId="c0b75bcc-c53b-4925-b19e-54b7afc94e15" providerId="ADAL" clId="{C15AA311-282E-4FE1-8D22-8A825A272403}" dt="2024-10-08T12:46:38.151" v="1137" actId="478"/>
            <ac:spMkLst>
              <pc:docMk/>
              <pc:sldMasterMk cId="3442277182" sldId="2147483788"/>
              <pc:sldLayoutMk cId="2175404669" sldId="2147483821"/>
              <ac:spMk id="15" creationId="{61C0B926-CFA5-962B-0F32-A8093527FE45}"/>
            </ac:spMkLst>
          </pc:spChg>
          <pc:spChg chg="add del mod">
            <ac:chgData name="Bernardo Lares" userId="c0b75bcc-c53b-4925-b19e-54b7afc94e15" providerId="ADAL" clId="{C15AA311-282E-4FE1-8D22-8A825A272403}" dt="2024-10-08T12:48:00.562" v="1206" actId="478"/>
            <ac:spMkLst>
              <pc:docMk/>
              <pc:sldMasterMk cId="3442277182" sldId="2147483788"/>
              <pc:sldLayoutMk cId="2175404669" sldId="2147483821"/>
              <ac:spMk id="16" creationId="{0745D5B6-4E05-FF6C-CEAE-66281FCAB23B}"/>
            </ac:spMkLst>
          </pc:spChg>
          <pc:spChg chg="del">
            <ac:chgData name="Bernardo Lares" userId="c0b75bcc-c53b-4925-b19e-54b7afc94e15" providerId="ADAL" clId="{C15AA311-282E-4FE1-8D22-8A825A272403}" dt="2024-10-08T12:46:41.310" v="1138" actId="478"/>
            <ac:spMkLst>
              <pc:docMk/>
              <pc:sldMasterMk cId="3442277182" sldId="2147483788"/>
              <pc:sldLayoutMk cId="2175404669" sldId="2147483821"/>
              <ac:spMk id="17" creationId="{9DCB2C8E-72AD-6D0C-5E71-F3F2B69CA75D}"/>
            </ac:spMkLst>
          </pc:spChg>
          <pc:spChg chg="del">
            <ac:chgData name="Bernardo Lares" userId="c0b75bcc-c53b-4925-b19e-54b7afc94e15" providerId="ADAL" clId="{C15AA311-282E-4FE1-8D22-8A825A272403}" dt="2024-10-08T12:46:43.565" v="1140" actId="478"/>
            <ac:spMkLst>
              <pc:docMk/>
              <pc:sldMasterMk cId="3442277182" sldId="2147483788"/>
              <pc:sldLayoutMk cId="2175404669" sldId="2147483821"/>
              <ac:spMk id="18" creationId="{44147D5A-077C-A883-4DBE-42E95A5FBB7D}"/>
            </ac:spMkLst>
          </pc:spChg>
          <pc:spChg chg="del">
            <ac:chgData name="Bernardo Lares" userId="c0b75bcc-c53b-4925-b19e-54b7afc94e15" providerId="ADAL" clId="{C15AA311-282E-4FE1-8D22-8A825A272403}" dt="2024-10-08T12:46:50.092" v="1143" actId="478"/>
            <ac:spMkLst>
              <pc:docMk/>
              <pc:sldMasterMk cId="3442277182" sldId="2147483788"/>
              <pc:sldLayoutMk cId="2175404669" sldId="2147483821"/>
              <ac:spMk id="19" creationId="{27565D8F-1E75-5025-E7B9-71D696E1D6C6}"/>
            </ac:spMkLst>
          </pc:spChg>
          <pc:spChg chg="del mod">
            <ac:chgData name="Bernardo Lares" userId="c0b75bcc-c53b-4925-b19e-54b7afc94e15" providerId="ADAL" clId="{C15AA311-282E-4FE1-8D22-8A825A272403}" dt="2024-10-08T15:56:32.493" v="1969" actId="478"/>
            <ac:spMkLst>
              <pc:docMk/>
              <pc:sldMasterMk cId="3442277182" sldId="2147483788"/>
              <pc:sldLayoutMk cId="2175404669" sldId="2147483821"/>
              <ac:spMk id="20" creationId="{4134C1F1-A8E1-0784-8993-AB91C7A52EF0}"/>
            </ac:spMkLst>
          </pc:spChg>
          <pc:spChg chg="add del mod">
            <ac:chgData name="Bernardo Lares" userId="c0b75bcc-c53b-4925-b19e-54b7afc94e15" providerId="ADAL" clId="{C15AA311-282E-4FE1-8D22-8A825A272403}" dt="2024-10-09T07:23:55.722" v="2011" actId="21"/>
            <ac:spMkLst>
              <pc:docMk/>
              <pc:sldMasterMk cId="3442277182" sldId="2147483788"/>
              <pc:sldLayoutMk cId="2175404669" sldId="2147483821"/>
              <ac:spMk id="21" creationId="{C6260EC1-6F67-25A7-A8CD-C4504B926D94}"/>
            </ac:spMkLst>
          </pc:spChg>
          <pc:spChg chg="mod ord">
            <ac:chgData name="Bernardo Lares" userId="c0b75bcc-c53b-4925-b19e-54b7afc94e15" providerId="ADAL" clId="{C15AA311-282E-4FE1-8D22-8A825A272403}" dt="2024-10-09T07:24:57.389" v="2116" actId="14100"/>
            <ac:spMkLst>
              <pc:docMk/>
              <pc:sldMasterMk cId="3442277182" sldId="2147483788"/>
              <pc:sldLayoutMk cId="2175404669" sldId="2147483821"/>
              <ac:spMk id="22" creationId="{998A1D13-ABD1-479D-7286-78DE8E867C09}"/>
            </ac:spMkLst>
          </pc:spChg>
          <pc:spChg chg="add del mod ord">
            <ac:chgData name="Bernardo Lares" userId="c0b75bcc-c53b-4925-b19e-54b7afc94e15" providerId="ADAL" clId="{C15AA311-282E-4FE1-8D22-8A825A272403}" dt="2024-10-09T07:24:15.717" v="2072" actId="21"/>
            <ac:spMkLst>
              <pc:docMk/>
              <pc:sldMasterMk cId="3442277182" sldId="2147483788"/>
              <pc:sldLayoutMk cId="2175404669" sldId="2147483821"/>
              <ac:spMk id="23" creationId="{2D051CDD-DE24-0521-89AB-18A378F02770}"/>
            </ac:spMkLst>
          </pc:spChg>
          <pc:spChg chg="mod ord">
            <ac:chgData name="Bernardo Lares" userId="c0b75bcc-c53b-4925-b19e-54b7afc94e15" providerId="ADAL" clId="{C15AA311-282E-4FE1-8D22-8A825A272403}" dt="2024-10-09T07:24:39.012" v="2110" actId="14100"/>
            <ac:spMkLst>
              <pc:docMk/>
              <pc:sldMasterMk cId="3442277182" sldId="2147483788"/>
              <pc:sldLayoutMk cId="2175404669" sldId="2147483821"/>
              <ac:spMk id="25" creationId="{B750D162-A6FC-3A58-A9E6-924DBFC23D84}"/>
            </ac:spMkLst>
          </pc:spChg>
          <pc:spChg chg="add mod ord">
            <ac:chgData name="Bernardo Lares" userId="c0b75bcc-c53b-4925-b19e-54b7afc94e15" providerId="ADAL" clId="{C15AA311-282E-4FE1-8D22-8A825A272403}" dt="2024-10-09T07:25:14.971" v="2131" actId="1035"/>
            <ac:spMkLst>
              <pc:docMk/>
              <pc:sldMasterMk cId="3442277182" sldId="2147483788"/>
              <pc:sldLayoutMk cId="2175404669" sldId="2147483821"/>
              <ac:spMk id="26" creationId="{E2E17E86-B3B7-C272-ECB4-3A24156E5F42}"/>
            </ac:spMkLst>
          </pc:spChg>
          <pc:spChg chg="add mod ord">
            <ac:chgData name="Bernardo Lares" userId="c0b75bcc-c53b-4925-b19e-54b7afc94e15" providerId="ADAL" clId="{C15AA311-282E-4FE1-8D22-8A825A272403}" dt="2024-10-09T07:24:53.553" v="2115" actId="14100"/>
            <ac:spMkLst>
              <pc:docMk/>
              <pc:sldMasterMk cId="3442277182" sldId="2147483788"/>
              <pc:sldLayoutMk cId="2175404669" sldId="2147483821"/>
              <ac:spMk id="27" creationId="{734F2334-F84A-022B-0006-58C620A695AD}"/>
            </ac:spMkLst>
          </pc:spChg>
          <pc:spChg chg="add mod ord">
            <ac:chgData name="Bernardo Lares" userId="c0b75bcc-c53b-4925-b19e-54b7afc94e15" providerId="ADAL" clId="{C15AA311-282E-4FE1-8D22-8A825A272403}" dt="2024-10-09T07:24:49.735" v="2114" actId="14100"/>
            <ac:spMkLst>
              <pc:docMk/>
              <pc:sldMasterMk cId="3442277182" sldId="2147483788"/>
              <pc:sldLayoutMk cId="2175404669" sldId="2147483821"/>
              <ac:spMk id="28" creationId="{516A31DE-D6C8-D18A-9F52-FE697323DD91}"/>
            </ac:spMkLst>
          </pc:spChg>
          <pc:spChg chg="add mod ord">
            <ac:chgData name="Bernardo Lares" userId="c0b75bcc-c53b-4925-b19e-54b7afc94e15" providerId="ADAL" clId="{C15AA311-282E-4FE1-8D22-8A825A272403}" dt="2024-10-09T07:25:14.971" v="2131" actId="1035"/>
            <ac:spMkLst>
              <pc:docMk/>
              <pc:sldMasterMk cId="3442277182" sldId="2147483788"/>
              <pc:sldLayoutMk cId="2175404669" sldId="2147483821"/>
              <ac:spMk id="29" creationId="{4471803B-2E78-8E17-D976-F13F500DF2EE}"/>
            </ac:spMkLst>
          </pc:spChg>
          <pc:graphicFrameChg chg="mod">
            <ac:chgData name="Bernardo Lares" userId="c0b75bcc-c53b-4925-b19e-54b7afc94e15" providerId="ADAL" clId="{C15AA311-282E-4FE1-8D22-8A825A272403}" dt="2024-10-09T07:24:27.555" v="2108"/>
            <ac:graphicFrameMkLst>
              <pc:docMk/>
              <pc:sldMasterMk cId="3442277182" sldId="2147483788"/>
              <pc:sldLayoutMk cId="2175404669" sldId="2147483821"/>
              <ac:graphicFrameMk id="24" creationId="{00D8C276-70E3-1124-D032-556F8DD36059}"/>
            </ac:graphicFrameMkLst>
          </pc:graphicFrameChg>
        </pc:sldLayoutChg>
        <pc:sldLayoutChg chg="addSp delSp modSp mod">
          <pc:chgData name="Bernardo Lares" userId="c0b75bcc-c53b-4925-b19e-54b7afc94e15" providerId="ADAL" clId="{C15AA311-282E-4FE1-8D22-8A825A272403}" dt="2024-10-08T16:15:28.624" v="1978" actId="12"/>
          <pc:sldLayoutMkLst>
            <pc:docMk/>
            <pc:sldMasterMk cId="3442277182" sldId="2147483788"/>
            <pc:sldLayoutMk cId="56291790" sldId="2147483822"/>
          </pc:sldLayoutMkLst>
          <pc:spChg chg="del mod">
            <ac:chgData name="Bernardo Lares" userId="c0b75bcc-c53b-4925-b19e-54b7afc94e15" providerId="ADAL" clId="{C15AA311-282E-4FE1-8D22-8A825A272403}" dt="2024-10-08T15:18:08.662" v="1282" actId="21"/>
            <ac:spMkLst>
              <pc:docMk/>
              <pc:sldMasterMk cId="3442277182" sldId="2147483788"/>
              <pc:sldLayoutMk cId="56291790" sldId="2147483822"/>
              <ac:spMk id="2" creationId="{E99A99C6-B235-2720-3500-EE89CB56CE50}"/>
            </ac:spMkLst>
          </pc:spChg>
          <pc:spChg chg="mod">
            <ac:chgData name="Bernardo Lares" userId="c0b75bcc-c53b-4925-b19e-54b7afc94e15" providerId="ADAL" clId="{C15AA311-282E-4FE1-8D22-8A825A272403}" dt="2024-10-08T15:23:55.492" v="1745" actId="948"/>
            <ac:spMkLst>
              <pc:docMk/>
              <pc:sldMasterMk cId="3442277182" sldId="2147483788"/>
              <pc:sldLayoutMk cId="56291790" sldId="2147483822"/>
              <ac:spMk id="6" creationId="{25ABB6F2-78D4-BCC3-D950-5FAF7FCB8FDD}"/>
            </ac:spMkLst>
          </pc:spChg>
          <pc:spChg chg="mod">
            <ac:chgData name="Bernardo Lares" userId="c0b75bcc-c53b-4925-b19e-54b7afc94e15" providerId="ADAL" clId="{C15AA311-282E-4FE1-8D22-8A825A272403}" dt="2024-10-08T15:23:57.337" v="1771" actId="14100"/>
            <ac:spMkLst>
              <pc:docMk/>
              <pc:sldMasterMk cId="3442277182" sldId="2147483788"/>
              <pc:sldLayoutMk cId="56291790" sldId="2147483822"/>
              <ac:spMk id="7" creationId="{FA46E8B4-4C83-8DD1-80BB-CC03BD24AFCC}"/>
            </ac:spMkLst>
          </pc:spChg>
          <pc:spChg chg="add del mod">
            <ac:chgData name="Bernardo Lares" userId="c0b75bcc-c53b-4925-b19e-54b7afc94e15" providerId="ADAL" clId="{C15AA311-282E-4FE1-8D22-8A825A272403}" dt="2024-10-08T15:50:15.477" v="1966" actId="2711"/>
            <ac:spMkLst>
              <pc:docMk/>
              <pc:sldMasterMk cId="3442277182" sldId="2147483788"/>
              <pc:sldLayoutMk cId="56291790" sldId="2147483822"/>
              <ac:spMk id="8" creationId="{3B9E051E-8049-FCFD-A54B-E240AC53D1B2}"/>
            </ac:spMkLst>
          </pc:spChg>
          <pc:spChg chg="mod">
            <ac:chgData name="Bernardo Lares" userId="c0b75bcc-c53b-4925-b19e-54b7afc94e15" providerId="ADAL" clId="{C15AA311-282E-4FE1-8D22-8A825A272403}" dt="2024-10-08T15:50:17.733" v="1967" actId="20577"/>
            <ac:spMkLst>
              <pc:docMk/>
              <pc:sldMasterMk cId="3442277182" sldId="2147483788"/>
              <pc:sldLayoutMk cId="56291790" sldId="2147483822"/>
              <ac:spMk id="9" creationId="{DCE8FC5E-A678-F4F9-6FC7-EEAB2E69AF78}"/>
            </ac:spMkLst>
          </pc:spChg>
          <pc:spChg chg="del">
            <ac:chgData name="Bernardo Lares" userId="c0b75bcc-c53b-4925-b19e-54b7afc94e15" providerId="ADAL" clId="{C15AA311-282E-4FE1-8D22-8A825A272403}" dt="2024-10-08T15:21:04.090" v="1573" actId="478"/>
            <ac:spMkLst>
              <pc:docMk/>
              <pc:sldMasterMk cId="3442277182" sldId="2147483788"/>
              <pc:sldLayoutMk cId="56291790" sldId="2147483822"/>
              <ac:spMk id="10" creationId="{8E19B5E4-F2A8-7F44-855D-F41DDE3B3D9F}"/>
            </ac:spMkLst>
          </pc:spChg>
          <pc:spChg chg="add del mod">
            <ac:chgData name="Bernardo Lares" userId="c0b75bcc-c53b-4925-b19e-54b7afc94e15" providerId="ADAL" clId="{C15AA311-282E-4FE1-8D22-8A825A272403}" dt="2024-10-08T15:50:15.477" v="1966" actId="2711"/>
            <ac:spMkLst>
              <pc:docMk/>
              <pc:sldMasterMk cId="3442277182" sldId="2147483788"/>
              <pc:sldLayoutMk cId="56291790" sldId="2147483822"/>
              <ac:spMk id="11" creationId="{B25B3DF6-C945-56A1-A6D2-AC4E6E31179A}"/>
            </ac:spMkLst>
          </pc:spChg>
          <pc:spChg chg="del">
            <ac:chgData name="Bernardo Lares" userId="c0b75bcc-c53b-4925-b19e-54b7afc94e15" providerId="ADAL" clId="{C15AA311-282E-4FE1-8D22-8A825A272403}" dt="2024-10-08T15:21:05.728" v="1574" actId="478"/>
            <ac:spMkLst>
              <pc:docMk/>
              <pc:sldMasterMk cId="3442277182" sldId="2147483788"/>
              <pc:sldLayoutMk cId="56291790" sldId="2147483822"/>
              <ac:spMk id="12" creationId="{DF88839E-C216-4873-F020-A965C577DAF8}"/>
            </ac:spMkLst>
          </pc:spChg>
          <pc:spChg chg="add del mod">
            <ac:chgData name="Bernardo Lares" userId="c0b75bcc-c53b-4925-b19e-54b7afc94e15" providerId="ADAL" clId="{C15AA311-282E-4FE1-8D22-8A825A272403}" dt="2024-10-08T15:18:06.717" v="1281" actId="478"/>
            <ac:spMkLst>
              <pc:docMk/>
              <pc:sldMasterMk cId="3442277182" sldId="2147483788"/>
              <pc:sldLayoutMk cId="56291790" sldId="2147483822"/>
              <ac:spMk id="13" creationId="{41D1E881-0EAE-876E-66F9-7BE9CD740EA1}"/>
            </ac:spMkLst>
          </pc:spChg>
          <pc:spChg chg="add del mod">
            <ac:chgData name="Bernardo Lares" userId="c0b75bcc-c53b-4925-b19e-54b7afc94e15" providerId="ADAL" clId="{C15AA311-282E-4FE1-8D22-8A825A272403}" dt="2024-10-08T15:18:21.267" v="1286" actId="478"/>
            <ac:spMkLst>
              <pc:docMk/>
              <pc:sldMasterMk cId="3442277182" sldId="2147483788"/>
              <pc:sldLayoutMk cId="56291790" sldId="2147483822"/>
              <ac:spMk id="15" creationId="{E99A99C6-B235-2720-3500-EE89CB56CE50}"/>
            </ac:spMkLst>
          </pc:spChg>
          <pc:spChg chg="add del mod modVis">
            <ac:chgData name="Bernardo Lares" userId="c0b75bcc-c53b-4925-b19e-54b7afc94e15" providerId="ADAL" clId="{C15AA311-282E-4FE1-8D22-8A825A272403}" dt="2024-10-08T15:20:31.240" v="1402"/>
            <ac:spMkLst>
              <pc:docMk/>
              <pc:sldMasterMk cId="3442277182" sldId="2147483788"/>
              <pc:sldLayoutMk cId="56291790" sldId="2147483822"/>
              <ac:spMk id="16" creationId="{7849EFA1-0721-4E70-57C5-D929A084D220}"/>
            </ac:spMkLst>
          </pc:spChg>
          <pc:spChg chg="add del mod modVis">
            <ac:chgData name="Bernardo Lares" userId="c0b75bcc-c53b-4925-b19e-54b7afc94e15" providerId="ADAL" clId="{C15AA311-282E-4FE1-8D22-8A825A272403}" dt="2024-10-08T15:20:32.493" v="1446"/>
            <ac:spMkLst>
              <pc:docMk/>
              <pc:sldMasterMk cId="3442277182" sldId="2147483788"/>
              <pc:sldLayoutMk cId="56291790" sldId="2147483822"/>
              <ac:spMk id="18" creationId="{A97E2D87-CB5A-430D-0C53-7CB1208162CF}"/>
            </ac:spMkLst>
          </pc:spChg>
          <pc:spChg chg="add del mod modVis">
            <ac:chgData name="Bernardo Lares" userId="c0b75bcc-c53b-4925-b19e-54b7afc94e15" providerId="ADAL" clId="{C15AA311-282E-4FE1-8D22-8A825A272403}" dt="2024-10-08T15:20:33.514" v="1476"/>
            <ac:spMkLst>
              <pc:docMk/>
              <pc:sldMasterMk cId="3442277182" sldId="2147483788"/>
              <pc:sldLayoutMk cId="56291790" sldId="2147483822"/>
              <ac:spMk id="19" creationId="{F2DE869F-591A-3062-9E89-CC984E10C256}"/>
            </ac:spMkLst>
          </pc:spChg>
          <pc:spChg chg="add del mod modVis">
            <ac:chgData name="Bernardo Lares" userId="c0b75bcc-c53b-4925-b19e-54b7afc94e15" providerId="ADAL" clId="{C15AA311-282E-4FE1-8D22-8A825A272403}" dt="2024-10-08T15:20:34.885" v="1505"/>
            <ac:spMkLst>
              <pc:docMk/>
              <pc:sldMasterMk cId="3442277182" sldId="2147483788"/>
              <pc:sldLayoutMk cId="56291790" sldId="2147483822"/>
              <ac:spMk id="20" creationId="{839AB97D-0E18-808D-580F-5AF8ED2DE1E5}"/>
            </ac:spMkLst>
          </pc:spChg>
          <pc:spChg chg="del">
            <ac:chgData name="Bernardo Lares" userId="c0b75bcc-c53b-4925-b19e-54b7afc94e15" providerId="ADAL" clId="{C15AA311-282E-4FE1-8D22-8A825A272403}" dt="2024-10-08T15:22:25.665" v="1579" actId="478"/>
            <ac:spMkLst>
              <pc:docMk/>
              <pc:sldMasterMk cId="3442277182" sldId="2147483788"/>
              <pc:sldLayoutMk cId="56291790" sldId="2147483822"/>
              <ac:spMk id="21" creationId="{E66507E6-44A7-B4B5-33F1-9F0C0DC0FDE1}"/>
            </ac:spMkLst>
          </pc:spChg>
          <pc:spChg chg="add del mod modVis">
            <ac:chgData name="Bernardo Lares" userId="c0b75bcc-c53b-4925-b19e-54b7afc94e15" providerId="ADAL" clId="{C15AA311-282E-4FE1-8D22-8A825A272403}" dt="2024-10-08T15:22:34.701" v="1604"/>
            <ac:spMkLst>
              <pc:docMk/>
              <pc:sldMasterMk cId="3442277182" sldId="2147483788"/>
              <pc:sldLayoutMk cId="56291790" sldId="2147483822"/>
              <ac:spMk id="22" creationId="{D01685F1-71E6-DD00-1D43-2517FD1D5A2E}"/>
            </ac:spMkLst>
          </pc:spChg>
          <pc:spChg chg="del mod">
            <ac:chgData name="Bernardo Lares" userId="c0b75bcc-c53b-4925-b19e-54b7afc94e15" providerId="ADAL" clId="{C15AA311-282E-4FE1-8D22-8A825A272403}" dt="2024-10-08T15:20:21.338" v="1362" actId="478"/>
            <ac:spMkLst>
              <pc:docMk/>
              <pc:sldMasterMk cId="3442277182" sldId="2147483788"/>
              <pc:sldLayoutMk cId="56291790" sldId="2147483822"/>
              <ac:spMk id="23" creationId="{472F201F-277F-F24E-085D-8160B5FF4CE6}"/>
            </ac:spMkLst>
          </pc:spChg>
          <pc:spChg chg="del">
            <ac:chgData name="Bernardo Lares" userId="c0b75bcc-c53b-4925-b19e-54b7afc94e15" providerId="ADAL" clId="{C15AA311-282E-4FE1-8D22-8A825A272403}" dt="2024-10-08T15:19:12.492" v="1349" actId="478"/>
            <ac:spMkLst>
              <pc:docMk/>
              <pc:sldMasterMk cId="3442277182" sldId="2147483788"/>
              <pc:sldLayoutMk cId="56291790" sldId="2147483822"/>
              <ac:spMk id="24" creationId="{B166E02B-F260-FEAF-DDEB-67922AA11E6E}"/>
            </ac:spMkLst>
          </pc:spChg>
          <pc:spChg chg="del">
            <ac:chgData name="Bernardo Lares" userId="c0b75bcc-c53b-4925-b19e-54b7afc94e15" providerId="ADAL" clId="{C15AA311-282E-4FE1-8D22-8A825A272403}" dt="2024-10-08T15:21:07.392" v="1575" actId="478"/>
            <ac:spMkLst>
              <pc:docMk/>
              <pc:sldMasterMk cId="3442277182" sldId="2147483788"/>
              <pc:sldLayoutMk cId="56291790" sldId="2147483822"/>
              <ac:spMk id="25" creationId="{1BD6FC89-B057-E6C5-C8EA-1FC8CB31B6CA}"/>
            </ac:spMkLst>
          </pc:spChg>
          <pc:spChg chg="add del mod modVis">
            <ac:chgData name="Bernardo Lares" userId="c0b75bcc-c53b-4925-b19e-54b7afc94e15" providerId="ADAL" clId="{C15AA311-282E-4FE1-8D22-8A825A272403}" dt="2024-10-08T15:23:48.256" v="1651"/>
            <ac:spMkLst>
              <pc:docMk/>
              <pc:sldMasterMk cId="3442277182" sldId="2147483788"/>
              <pc:sldLayoutMk cId="56291790" sldId="2147483822"/>
              <ac:spMk id="26" creationId="{37B252F5-0FC3-7F07-50A6-2144B1DBCD8B}"/>
            </ac:spMkLst>
          </pc:spChg>
          <pc:spChg chg="add del mod modVis">
            <ac:chgData name="Bernardo Lares" userId="c0b75bcc-c53b-4925-b19e-54b7afc94e15" providerId="ADAL" clId="{C15AA311-282E-4FE1-8D22-8A825A272403}" dt="2024-10-08T15:23:49.395" v="1681"/>
            <ac:spMkLst>
              <pc:docMk/>
              <pc:sldMasterMk cId="3442277182" sldId="2147483788"/>
              <pc:sldLayoutMk cId="56291790" sldId="2147483822"/>
              <ac:spMk id="27" creationId="{EA976F05-990C-10A7-0EC0-DD818BF03E8D}"/>
            </ac:spMkLst>
          </pc:spChg>
          <pc:spChg chg="add del mod modVis">
            <ac:chgData name="Bernardo Lares" userId="c0b75bcc-c53b-4925-b19e-54b7afc94e15" providerId="ADAL" clId="{C15AA311-282E-4FE1-8D22-8A825A272403}" dt="2024-10-08T15:23:50.408" v="1711"/>
            <ac:spMkLst>
              <pc:docMk/>
              <pc:sldMasterMk cId="3442277182" sldId="2147483788"/>
              <pc:sldLayoutMk cId="56291790" sldId="2147483822"/>
              <ac:spMk id="28" creationId="{01D8070F-A57E-624B-F2EA-D5172CA42B78}"/>
            </ac:spMkLst>
          </pc:spChg>
          <pc:spChg chg="add del mod modVis">
            <ac:chgData name="Bernardo Lares" userId="c0b75bcc-c53b-4925-b19e-54b7afc94e15" providerId="ADAL" clId="{C15AA311-282E-4FE1-8D22-8A825A272403}" dt="2024-10-08T15:23:52.256" v="1741"/>
            <ac:spMkLst>
              <pc:docMk/>
              <pc:sldMasterMk cId="3442277182" sldId="2147483788"/>
              <pc:sldLayoutMk cId="56291790" sldId="2147483822"/>
              <ac:spMk id="29" creationId="{12CF58A7-EF40-4D25-DAF6-F3B563ACCA1D}"/>
            </ac:spMkLst>
          </pc:spChg>
          <pc:spChg chg="add del mod modVis">
            <ac:chgData name="Bernardo Lares" userId="c0b75bcc-c53b-4925-b19e-54b7afc94e15" providerId="ADAL" clId="{C15AA311-282E-4FE1-8D22-8A825A272403}" dt="2024-10-08T15:23:55.511" v="1768"/>
            <ac:spMkLst>
              <pc:docMk/>
              <pc:sldMasterMk cId="3442277182" sldId="2147483788"/>
              <pc:sldLayoutMk cId="56291790" sldId="2147483822"/>
              <ac:spMk id="30" creationId="{1C578007-5013-B571-2F7D-E572EBA815AD}"/>
            </ac:spMkLst>
          </pc:spChg>
          <pc:spChg chg="mod">
            <ac:chgData name="Bernardo Lares" userId="c0b75bcc-c53b-4925-b19e-54b7afc94e15" providerId="ADAL" clId="{C15AA311-282E-4FE1-8D22-8A825A272403}" dt="2024-10-08T15:50:15.477" v="1966" actId="2711"/>
            <ac:spMkLst>
              <pc:docMk/>
              <pc:sldMasterMk cId="3442277182" sldId="2147483788"/>
              <pc:sldLayoutMk cId="56291790" sldId="2147483822"/>
              <ac:spMk id="32" creationId="{0AC59E1C-A015-4BA4-AB7D-EC00F37B815F}"/>
            </ac:spMkLst>
          </pc:spChg>
          <pc:spChg chg="del mod">
            <ac:chgData name="Bernardo Lares" userId="c0b75bcc-c53b-4925-b19e-54b7afc94e15" providerId="ADAL" clId="{C15AA311-282E-4FE1-8D22-8A825A272403}" dt="2024-10-08T15:22:22.746" v="1578" actId="478"/>
            <ac:spMkLst>
              <pc:docMk/>
              <pc:sldMasterMk cId="3442277182" sldId="2147483788"/>
              <pc:sldLayoutMk cId="56291790" sldId="2147483822"/>
              <ac:spMk id="34" creationId="{D4EBA022-30B3-B17F-5D7C-3A3D869D35FA}"/>
            </ac:spMkLst>
          </pc:spChg>
          <pc:spChg chg="del mod">
            <ac:chgData name="Bernardo Lares" userId="c0b75bcc-c53b-4925-b19e-54b7afc94e15" providerId="ADAL" clId="{C15AA311-282E-4FE1-8D22-8A825A272403}" dt="2024-10-08T15:19:30.443" v="1354" actId="478"/>
            <ac:spMkLst>
              <pc:docMk/>
              <pc:sldMasterMk cId="3442277182" sldId="2147483788"/>
              <pc:sldLayoutMk cId="56291790" sldId="2147483822"/>
              <ac:spMk id="35" creationId="{FF5A742C-A049-77AC-C2E5-4272D118CC96}"/>
            </ac:spMkLst>
          </pc:spChg>
          <pc:spChg chg="mod">
            <ac:chgData name="Bernardo Lares" userId="c0b75bcc-c53b-4925-b19e-54b7afc94e15" providerId="ADAL" clId="{C15AA311-282E-4FE1-8D22-8A825A272403}" dt="2024-10-08T16:15:28.624" v="1978" actId="12"/>
            <ac:spMkLst>
              <pc:docMk/>
              <pc:sldMasterMk cId="3442277182" sldId="2147483788"/>
              <pc:sldLayoutMk cId="56291790" sldId="2147483822"/>
              <ac:spMk id="54" creationId="{82C5C591-14F5-449A-187A-1D9A683E961E}"/>
            </ac:spMkLst>
          </pc:spChg>
          <pc:spChg chg="mod">
            <ac:chgData name="Bernardo Lares" userId="c0b75bcc-c53b-4925-b19e-54b7afc94e15" providerId="ADAL" clId="{C15AA311-282E-4FE1-8D22-8A825A272403}" dt="2024-10-08T16:15:28.624" v="1978" actId="12"/>
            <ac:spMkLst>
              <pc:docMk/>
              <pc:sldMasterMk cId="3442277182" sldId="2147483788"/>
              <pc:sldLayoutMk cId="56291790" sldId="2147483822"/>
              <ac:spMk id="55" creationId="{54077D3A-2E14-68B6-5E16-413475F36C3A}"/>
            </ac:spMkLst>
          </pc:spChg>
          <pc:spChg chg="mod">
            <ac:chgData name="Bernardo Lares" userId="c0b75bcc-c53b-4925-b19e-54b7afc94e15" providerId="ADAL" clId="{C15AA311-282E-4FE1-8D22-8A825A272403}" dt="2024-10-08T16:15:28.624" v="1978" actId="12"/>
            <ac:spMkLst>
              <pc:docMk/>
              <pc:sldMasterMk cId="3442277182" sldId="2147483788"/>
              <pc:sldLayoutMk cId="56291790" sldId="2147483822"/>
              <ac:spMk id="56" creationId="{5DE7D720-AF89-6DE4-D2E5-33C7B01B7E91}"/>
            </ac:spMkLst>
          </pc:spChg>
          <pc:spChg chg="mod">
            <ac:chgData name="Bernardo Lares" userId="c0b75bcc-c53b-4925-b19e-54b7afc94e15" providerId="ADAL" clId="{C15AA311-282E-4FE1-8D22-8A825A272403}" dt="2024-10-08T15:50:32.532" v="1968" actId="242"/>
            <ac:spMkLst>
              <pc:docMk/>
              <pc:sldMasterMk cId="3442277182" sldId="2147483788"/>
              <pc:sldLayoutMk cId="56291790" sldId="2147483822"/>
              <ac:spMk id="57" creationId="{8C53FB3B-975B-80D5-29B3-81DC27DCAC8F}"/>
            </ac:spMkLst>
          </pc:spChg>
          <pc:graphicFrameChg chg="add mod ord modVis replST">
            <ac:chgData name="Bernardo Lares" userId="c0b75bcc-c53b-4925-b19e-54b7afc94e15" providerId="ADAL" clId="{C15AA311-282E-4FE1-8D22-8A825A272403}" dt="2024-10-08T15:23:55.511" v="1770"/>
            <ac:graphicFrameMkLst>
              <pc:docMk/>
              <pc:sldMasterMk cId="3442277182" sldId="2147483788"/>
              <pc:sldLayoutMk cId="56291790" sldId="2147483822"/>
              <ac:graphicFrameMk id="17" creationId="{B2B01611-90ED-549D-5ECE-4194D9228E08}"/>
            </ac:graphicFrameMkLst>
          </pc:graphicFrameChg>
        </pc:sldLayoutChg>
        <pc:sldLayoutChg chg="addSp delSp modSp mod">
          <pc:chgData name="Bernardo Lares" userId="c0b75bcc-c53b-4925-b19e-54b7afc94e15" providerId="ADAL" clId="{C15AA311-282E-4FE1-8D22-8A825A272403}" dt="2024-10-09T07:26:26.727" v="2138" actId="404"/>
          <pc:sldLayoutMkLst>
            <pc:docMk/>
            <pc:sldMasterMk cId="3442277182" sldId="2147483788"/>
            <pc:sldLayoutMk cId="2022114907" sldId="2147483823"/>
          </pc:sldLayoutMkLst>
          <pc:spChg chg="del">
            <ac:chgData name="Bernardo Lares" userId="c0b75bcc-c53b-4925-b19e-54b7afc94e15" providerId="ADAL" clId="{C15AA311-282E-4FE1-8D22-8A825A272403}" dt="2024-10-08T16:26:15.099" v="1998" actId="478"/>
            <ac:spMkLst>
              <pc:docMk/>
              <pc:sldMasterMk cId="3442277182" sldId="2147483788"/>
              <pc:sldLayoutMk cId="2022114907" sldId="2147483823"/>
              <ac:spMk id="2" creationId="{2E151742-951B-4B8B-93F8-F6814A0074E2}"/>
            </ac:spMkLst>
          </pc:spChg>
          <pc:spChg chg="del">
            <ac:chgData name="Bernardo Lares" userId="c0b75bcc-c53b-4925-b19e-54b7afc94e15" providerId="ADAL" clId="{C15AA311-282E-4FE1-8D22-8A825A272403}" dt="2024-10-08T16:26:16.738" v="1999" actId="478"/>
            <ac:spMkLst>
              <pc:docMk/>
              <pc:sldMasterMk cId="3442277182" sldId="2147483788"/>
              <pc:sldLayoutMk cId="2022114907" sldId="2147483823"/>
              <ac:spMk id="3" creationId="{5E4920F6-7DEA-40DB-B124-F0789E56046F}"/>
            </ac:spMkLst>
          </pc:spChg>
          <pc:spChg chg="del">
            <ac:chgData name="Bernardo Lares" userId="c0b75bcc-c53b-4925-b19e-54b7afc94e15" providerId="ADAL" clId="{C15AA311-282E-4FE1-8D22-8A825A272403}" dt="2024-10-08T16:26:13.805" v="1997" actId="478"/>
            <ac:spMkLst>
              <pc:docMk/>
              <pc:sldMasterMk cId="3442277182" sldId="2147483788"/>
              <pc:sldLayoutMk cId="2022114907" sldId="2147483823"/>
              <ac:spMk id="4" creationId="{D4DDB722-CBB2-49EC-937E-10206DEB6BD1}"/>
            </ac:spMkLst>
          </pc:spChg>
          <pc:spChg chg="del">
            <ac:chgData name="Bernardo Lares" userId="c0b75bcc-c53b-4925-b19e-54b7afc94e15" providerId="ADAL" clId="{C15AA311-282E-4FE1-8D22-8A825A272403}" dt="2024-10-08T16:24:46.121" v="1983" actId="478"/>
            <ac:spMkLst>
              <pc:docMk/>
              <pc:sldMasterMk cId="3442277182" sldId="2147483788"/>
              <pc:sldLayoutMk cId="2022114907" sldId="2147483823"/>
              <ac:spMk id="6" creationId="{419A6C63-D432-9A3E-CB96-F7EAA27D2A64}"/>
            </ac:spMkLst>
          </pc:spChg>
          <pc:spChg chg="add mod">
            <ac:chgData name="Bernardo Lares" userId="c0b75bcc-c53b-4925-b19e-54b7afc94e15" providerId="ADAL" clId="{C15AA311-282E-4FE1-8D22-8A825A272403}" dt="2024-10-09T07:26:26.727" v="2138" actId="404"/>
            <ac:spMkLst>
              <pc:docMk/>
              <pc:sldMasterMk cId="3442277182" sldId="2147483788"/>
              <pc:sldLayoutMk cId="2022114907" sldId="2147483823"/>
              <ac:spMk id="7" creationId="{C9847439-0418-5A3F-6AB6-209A489A7227}"/>
            </ac:spMkLst>
          </pc:spChg>
          <pc:spChg chg="mod">
            <ac:chgData name="Bernardo Lares" userId="c0b75bcc-c53b-4925-b19e-54b7afc94e15" providerId="ADAL" clId="{C15AA311-282E-4FE1-8D22-8A825A272403}" dt="2024-10-08T16:24:40.849" v="1980" actId="20577"/>
            <ac:spMkLst>
              <pc:docMk/>
              <pc:sldMasterMk cId="3442277182" sldId="2147483788"/>
              <pc:sldLayoutMk cId="2022114907" sldId="2147483823"/>
              <ac:spMk id="9" creationId="{3A7A86B9-637F-F18A-3604-5A44F7C4442F}"/>
            </ac:spMkLst>
          </pc:spChg>
          <pc:spChg chg="del">
            <ac:chgData name="Bernardo Lares" userId="c0b75bcc-c53b-4925-b19e-54b7afc94e15" providerId="ADAL" clId="{C15AA311-282E-4FE1-8D22-8A825A272403}" dt="2024-10-08T16:25:16.824" v="1986" actId="478"/>
            <ac:spMkLst>
              <pc:docMk/>
              <pc:sldMasterMk cId="3442277182" sldId="2147483788"/>
              <pc:sldLayoutMk cId="2022114907" sldId="2147483823"/>
              <ac:spMk id="10" creationId="{5A89E078-B97D-529E-FF83-DF5AD69D51F2}"/>
            </ac:spMkLst>
          </pc:spChg>
          <pc:graphicFrameChg chg="mod">
            <ac:chgData name="Bernardo Lares" userId="c0b75bcc-c53b-4925-b19e-54b7afc94e15" providerId="ADAL" clId="{C15AA311-282E-4FE1-8D22-8A825A272403}" dt="2024-10-08T16:24:41.356" v="1982"/>
            <ac:graphicFrameMkLst>
              <pc:docMk/>
              <pc:sldMasterMk cId="3442277182" sldId="2147483788"/>
              <pc:sldLayoutMk cId="2022114907" sldId="2147483823"/>
              <ac:graphicFrameMk id="8" creationId="{B21CDEB8-E44B-BE7A-700F-DD2933667B60}"/>
            </ac:graphicFrameMkLst>
          </pc:graphicFrameChg>
        </pc:sldLayoutChg>
      </pc:sldMasterChg>
    </pc:docChg>
  </pc:docChgLst>
  <pc:docChgLst>
    <pc:chgData name="Bernardo Lares" userId="c0b75bcc-c53b-4925-b19e-54b7afc94e15" providerId="ADAL" clId="{6E66F923-8F06-4A9C-8933-890757EFA546}"/>
    <pc:docChg chg="undo custSel addSld modSld modMainMaster">
      <pc:chgData name="Bernardo Lares" userId="c0b75bcc-c53b-4925-b19e-54b7afc94e15" providerId="ADAL" clId="{6E66F923-8F06-4A9C-8933-890757EFA546}" dt="2024-10-31T15:29:56.450" v="7563" actId="20577"/>
      <pc:docMkLst>
        <pc:docMk/>
      </pc:docMkLst>
      <pc:sldChg chg="addSp delSp modSp add mod">
        <pc:chgData name="Bernardo Lares" userId="c0b75bcc-c53b-4925-b19e-54b7afc94e15" providerId="ADAL" clId="{6E66F923-8F06-4A9C-8933-890757EFA546}" dt="2024-10-31T15:29:56.450" v="7563" actId="20577"/>
        <pc:sldMkLst>
          <pc:docMk/>
          <pc:sldMk cId="3161060149" sldId="283"/>
        </pc:sldMkLst>
        <pc:spChg chg="add del mod modVis">
          <ac:chgData name="Bernardo Lares" userId="c0b75bcc-c53b-4925-b19e-54b7afc94e15" providerId="ADAL" clId="{6E66F923-8F06-4A9C-8933-890757EFA546}" dt="2024-10-31T15:24:07.453" v="6407"/>
          <ac:spMkLst>
            <pc:docMk/>
            <pc:sldMk cId="3161060149" sldId="283"/>
            <ac:spMk id="2" creationId="{71DDF0B9-9778-AD03-8CFF-6ABD29F080A9}"/>
          </ac:spMkLst>
        </pc:spChg>
        <pc:spChg chg="mod ord">
          <ac:chgData name="Bernardo Lares" userId="c0b75bcc-c53b-4925-b19e-54b7afc94e15" providerId="ADAL" clId="{6E66F923-8F06-4A9C-8933-890757EFA546}" dt="2024-10-31T15:25:32.971" v="7343"/>
          <ac:spMkLst>
            <pc:docMk/>
            <pc:sldMk cId="3161060149" sldId="283"/>
            <ac:spMk id="3" creationId="{00000000-0000-0000-0000-000000000000}"/>
          </ac:spMkLst>
        </pc:spChg>
        <pc:spChg chg="mod ord">
          <ac:chgData name="Bernardo Lares" userId="c0b75bcc-c53b-4925-b19e-54b7afc94e15" providerId="ADAL" clId="{6E66F923-8F06-4A9C-8933-890757EFA546}" dt="2024-10-31T15:25:32.978" v="7349"/>
          <ac:spMkLst>
            <pc:docMk/>
            <pc:sldMk cId="3161060149" sldId="283"/>
            <ac:spMk id="4" creationId="{D4B68D1F-5548-F9C8-ED71-564FB829E526}"/>
          </ac:spMkLst>
        </pc:spChg>
        <pc:spChg chg="add del mod replST">
          <ac:chgData name="Bernardo Lares" userId="c0b75bcc-c53b-4925-b19e-54b7afc94e15" providerId="ADAL" clId="{6E66F923-8F06-4A9C-8933-890757EFA546}" dt="2024-10-31T15:24:11.347" v="6509"/>
          <ac:spMkLst>
            <pc:docMk/>
            <pc:sldMk cId="3161060149" sldId="283"/>
            <ac:spMk id="5" creationId="{BBC2AD35-7761-4742-BEF1-3D0CAD2E1DED}"/>
          </ac:spMkLst>
        </pc:spChg>
        <pc:spChg chg="mod ord">
          <ac:chgData name="Bernardo Lares" userId="c0b75bcc-c53b-4925-b19e-54b7afc94e15" providerId="ADAL" clId="{6E66F923-8F06-4A9C-8933-890757EFA546}" dt="2024-10-31T15:25:32.973" v="7345"/>
          <ac:spMkLst>
            <pc:docMk/>
            <pc:sldMk cId="3161060149" sldId="283"/>
            <ac:spMk id="8" creationId="{63885400-315D-4811-9651-1D38F4ACCA13}"/>
          </ac:spMkLst>
        </pc:spChg>
        <pc:spChg chg="add del mod modVis">
          <ac:chgData name="Bernardo Lares" userId="c0b75bcc-c53b-4925-b19e-54b7afc94e15" providerId="ADAL" clId="{6E66F923-8F06-4A9C-8933-890757EFA546}" dt="2024-10-31T15:24:27.820" v="6720"/>
          <ac:spMkLst>
            <pc:docMk/>
            <pc:sldMk cId="3161060149" sldId="283"/>
            <ac:spMk id="11" creationId="{790D0D37-E276-FF61-F7C1-BD502372E33C}"/>
          </ac:spMkLst>
        </pc:spChg>
        <pc:spChg chg="add del mod modVis">
          <ac:chgData name="Bernardo Lares" userId="c0b75bcc-c53b-4925-b19e-54b7afc94e15" providerId="ADAL" clId="{6E66F923-8F06-4A9C-8933-890757EFA546}" dt="2024-10-31T15:24:38.452" v="6857"/>
          <ac:spMkLst>
            <pc:docMk/>
            <pc:sldMk cId="3161060149" sldId="283"/>
            <ac:spMk id="13" creationId="{1410E23B-D00C-83FD-DEB7-80E50E463117}"/>
          </ac:spMkLst>
        </pc:spChg>
        <pc:spChg chg="add del mod modVis">
          <ac:chgData name="Bernardo Lares" userId="c0b75bcc-c53b-4925-b19e-54b7afc94e15" providerId="ADAL" clId="{6E66F923-8F06-4A9C-8933-890757EFA546}" dt="2024-10-31T15:25:00.066" v="6994"/>
          <ac:spMkLst>
            <pc:docMk/>
            <pc:sldMk cId="3161060149" sldId="283"/>
            <ac:spMk id="15" creationId="{4934FA2E-B0A9-0973-20A2-3622C41C067D}"/>
          </ac:spMkLst>
        </pc:spChg>
        <pc:spChg chg="add del mod modVis">
          <ac:chgData name="Bernardo Lares" userId="c0b75bcc-c53b-4925-b19e-54b7afc94e15" providerId="ADAL" clId="{6E66F923-8F06-4A9C-8933-890757EFA546}" dt="2024-10-31T15:25:08.109" v="7131"/>
          <ac:spMkLst>
            <pc:docMk/>
            <pc:sldMk cId="3161060149" sldId="283"/>
            <ac:spMk id="17" creationId="{9EFF5ED1-09E5-C16F-1EF7-278109794720}"/>
          </ac:spMkLst>
        </pc:spChg>
        <pc:spChg chg="add del mod modVis">
          <ac:chgData name="Bernardo Lares" userId="c0b75bcc-c53b-4925-b19e-54b7afc94e15" providerId="ADAL" clId="{6E66F923-8F06-4A9C-8933-890757EFA546}" dt="2024-10-31T15:25:29.972" v="7268"/>
          <ac:spMkLst>
            <pc:docMk/>
            <pc:sldMk cId="3161060149" sldId="283"/>
            <ac:spMk id="19" creationId="{F1706EB5-D21A-6FB8-9333-D69D7F6DA086}"/>
          </ac:spMkLst>
        </pc:spChg>
        <pc:spChg chg="mod">
          <ac:chgData name="Bernardo Lares" userId="c0b75bcc-c53b-4925-b19e-54b7afc94e15" providerId="ADAL" clId="{6E66F923-8F06-4A9C-8933-890757EFA546}" dt="2024-10-31T15:25:33.047" v="7392"/>
          <ac:spMkLst>
            <pc:docMk/>
            <pc:sldMk cId="3161060149" sldId="283"/>
            <ac:spMk id="20" creationId="{88B5B340-0080-0BAC-F680-DFDB66383CC5}"/>
          </ac:spMkLst>
        </pc:spChg>
        <pc:spChg chg="add del mod modVis">
          <ac:chgData name="Bernardo Lares" userId="c0b75bcc-c53b-4925-b19e-54b7afc94e15" providerId="ADAL" clId="{6E66F923-8F06-4A9C-8933-890757EFA546}" dt="2024-10-31T15:25:33.068" v="7405"/>
          <ac:spMkLst>
            <pc:docMk/>
            <pc:sldMk cId="3161060149" sldId="283"/>
            <ac:spMk id="23" creationId="{43F4ABB1-C837-A272-1EE0-015540A7DA27}"/>
          </ac:spMkLst>
        </pc:spChg>
        <pc:spChg chg="add mod">
          <ac:chgData name="Bernardo Lares" userId="c0b75bcc-c53b-4925-b19e-54b7afc94e15" providerId="ADAL" clId="{6E66F923-8F06-4A9C-8933-890757EFA546}" dt="2024-10-31T15:29:42.388" v="7557" actId="113"/>
          <ac:spMkLst>
            <pc:docMk/>
            <pc:sldMk cId="3161060149" sldId="283"/>
            <ac:spMk id="25" creationId="{451FB9F7-C8D0-E598-A9CA-AFF3491E4920}"/>
          </ac:spMkLst>
        </pc:spChg>
        <pc:spChg chg="mod">
          <ac:chgData name="Bernardo Lares" userId="c0b75bcc-c53b-4925-b19e-54b7afc94e15" providerId="ADAL" clId="{6E66F923-8F06-4A9C-8933-890757EFA546}" dt="2024-10-31T15:25:32.989" v="7358"/>
          <ac:spMkLst>
            <pc:docMk/>
            <pc:sldMk cId="3161060149" sldId="283"/>
            <ac:spMk id="27" creationId="{BBC2AD35-7761-4742-BEF1-3D0CAD2E1DED}"/>
          </ac:spMkLst>
        </pc:spChg>
        <pc:spChg chg="mod">
          <ac:chgData name="Bernardo Lares" userId="c0b75bcc-c53b-4925-b19e-54b7afc94e15" providerId="ADAL" clId="{6E66F923-8F06-4A9C-8933-890757EFA546}" dt="2024-10-31T15:25:33.054" v="7395"/>
          <ac:spMkLst>
            <pc:docMk/>
            <pc:sldMk cId="3161060149" sldId="283"/>
            <ac:spMk id="30" creationId="{AEAC2A66-CE4D-98A5-AB87-1DA8E6F0343C}"/>
          </ac:spMkLst>
        </pc:spChg>
        <pc:spChg chg="mod ord">
          <ac:chgData name="Bernardo Lares" userId="c0b75bcc-c53b-4925-b19e-54b7afc94e15" providerId="ADAL" clId="{6E66F923-8F06-4A9C-8933-890757EFA546}" dt="2024-10-31T15:25:32.985" v="7356"/>
          <ac:spMkLst>
            <pc:docMk/>
            <pc:sldMk cId="3161060149" sldId="283"/>
            <ac:spMk id="32" creationId="{996FFF02-1283-B9CA-3567-4BC2D7FBF4A8}"/>
          </ac:spMkLst>
        </pc:spChg>
        <pc:spChg chg="mod ord">
          <ac:chgData name="Bernardo Lares" userId="c0b75bcc-c53b-4925-b19e-54b7afc94e15" providerId="ADAL" clId="{6E66F923-8F06-4A9C-8933-890757EFA546}" dt="2024-10-31T15:25:32.981" v="7352"/>
          <ac:spMkLst>
            <pc:docMk/>
            <pc:sldMk cId="3161060149" sldId="283"/>
            <ac:spMk id="33" creationId="{B0A5B5AB-839A-DA09-F3BE-4E18FBE6E83D}"/>
          </ac:spMkLst>
        </pc:spChg>
        <pc:spChg chg="mod">
          <ac:chgData name="Bernardo Lares" userId="c0b75bcc-c53b-4925-b19e-54b7afc94e15" providerId="ADAL" clId="{6E66F923-8F06-4A9C-8933-890757EFA546}" dt="2024-10-31T15:25:32.991" v="7359"/>
          <ac:spMkLst>
            <pc:docMk/>
            <pc:sldMk cId="3161060149" sldId="283"/>
            <ac:spMk id="35" creationId="{BBC2AD35-7761-4742-BEF1-3D0CAD2E1DED}"/>
          </ac:spMkLst>
        </pc:spChg>
        <pc:spChg chg="mod">
          <ac:chgData name="Bernardo Lares" userId="c0b75bcc-c53b-4925-b19e-54b7afc94e15" providerId="ADAL" clId="{6E66F923-8F06-4A9C-8933-890757EFA546}" dt="2024-10-31T15:25:32.998" v="7365"/>
          <ac:spMkLst>
            <pc:docMk/>
            <pc:sldMk cId="3161060149" sldId="283"/>
            <ac:spMk id="52" creationId="{4210F079-1208-E46E-FEBE-A672BB9786AF}"/>
          </ac:spMkLst>
        </pc:spChg>
        <pc:spChg chg="mod">
          <ac:chgData name="Bernardo Lares" userId="c0b75bcc-c53b-4925-b19e-54b7afc94e15" providerId="ADAL" clId="{6E66F923-8F06-4A9C-8933-890757EFA546}" dt="2024-10-31T15:25:32.996" v="7364"/>
          <ac:spMkLst>
            <pc:docMk/>
            <pc:sldMk cId="3161060149" sldId="283"/>
            <ac:spMk id="64" creationId="{5C8F38DA-E59F-2F12-6F9D-5AA8CF44C3A4}"/>
          </ac:spMkLst>
        </pc:spChg>
        <pc:spChg chg="mod">
          <ac:chgData name="Bernardo Lares" userId="c0b75bcc-c53b-4925-b19e-54b7afc94e15" providerId="ADAL" clId="{6E66F923-8F06-4A9C-8933-890757EFA546}" dt="2024-10-31T15:25:32.987" v="7357"/>
          <ac:spMkLst>
            <pc:docMk/>
            <pc:sldMk cId="3161060149" sldId="283"/>
            <ac:spMk id="70" creationId="{BBC2AD35-7761-4742-BEF1-3D0CAD2E1DED}"/>
          </ac:spMkLst>
        </pc:spChg>
        <pc:spChg chg="mod">
          <ac:chgData name="Bernardo Lares" userId="c0b75bcc-c53b-4925-b19e-54b7afc94e15" providerId="ADAL" clId="{6E66F923-8F06-4A9C-8933-890757EFA546}" dt="2024-10-31T15:25:33.015" v="7377"/>
          <ac:spMkLst>
            <pc:docMk/>
            <pc:sldMk cId="3161060149" sldId="283"/>
            <ac:spMk id="88" creationId="{D9A83A65-47ED-779D-0471-183D1C15E1C2}"/>
          </ac:spMkLst>
        </pc:spChg>
        <pc:spChg chg="mod ord">
          <ac:chgData name="Bernardo Lares" userId="c0b75bcc-c53b-4925-b19e-54b7afc94e15" providerId="ADAL" clId="{6E66F923-8F06-4A9C-8933-890757EFA546}" dt="2024-10-31T15:25:33.008" v="7370"/>
          <ac:spMkLst>
            <pc:docMk/>
            <pc:sldMk cId="3161060149" sldId="283"/>
            <ac:spMk id="92" creationId="{7332F456-9ABE-1FA6-D356-49727F594A9D}"/>
          </ac:spMkLst>
        </pc:spChg>
        <pc:spChg chg="mod">
          <ac:chgData name="Bernardo Lares" userId="c0b75bcc-c53b-4925-b19e-54b7afc94e15" providerId="ADAL" clId="{6E66F923-8F06-4A9C-8933-890757EFA546}" dt="2024-10-31T15:25:33.002" v="7367"/>
          <ac:spMkLst>
            <pc:docMk/>
            <pc:sldMk cId="3161060149" sldId="283"/>
            <ac:spMk id="106" creationId="{D6826D97-B1B9-87AE-50E2-51394238B813}"/>
          </ac:spMkLst>
        </pc:spChg>
        <pc:spChg chg="mod">
          <ac:chgData name="Bernardo Lares" userId="c0b75bcc-c53b-4925-b19e-54b7afc94e15" providerId="ADAL" clId="{6E66F923-8F06-4A9C-8933-890757EFA546}" dt="2024-10-31T15:25:33.005" v="7368"/>
          <ac:spMkLst>
            <pc:docMk/>
            <pc:sldMk cId="3161060149" sldId="283"/>
            <ac:spMk id="107" creationId="{120C7C1C-E0DC-0774-2A67-27B9F6535D60}"/>
          </ac:spMkLst>
        </pc:spChg>
        <pc:spChg chg="mod ord">
          <ac:chgData name="Bernardo Lares" userId="c0b75bcc-c53b-4925-b19e-54b7afc94e15" providerId="ADAL" clId="{6E66F923-8F06-4A9C-8933-890757EFA546}" dt="2024-10-31T15:25:33.009" v="7372"/>
          <ac:spMkLst>
            <pc:docMk/>
            <pc:sldMk cId="3161060149" sldId="283"/>
            <ac:spMk id="113" creationId="{CB2B120B-4300-98B2-AEE4-06E3F959BAAE}"/>
          </ac:spMkLst>
        </pc:spChg>
        <pc:spChg chg="mod ord">
          <ac:chgData name="Bernardo Lares" userId="c0b75bcc-c53b-4925-b19e-54b7afc94e15" providerId="ADAL" clId="{6E66F923-8F06-4A9C-8933-890757EFA546}" dt="2024-10-31T15:25:32.993" v="7361"/>
          <ac:spMkLst>
            <pc:docMk/>
            <pc:sldMk cId="3161060149" sldId="283"/>
            <ac:spMk id="114" creationId="{85116011-0871-94FF-190F-049C8312938C}"/>
          </ac:spMkLst>
        </pc:spChg>
        <pc:spChg chg="mod ord">
          <ac:chgData name="Bernardo Lares" userId="c0b75bcc-c53b-4925-b19e-54b7afc94e15" providerId="ADAL" clId="{6E66F923-8F06-4A9C-8933-890757EFA546}" dt="2024-10-31T15:25:32.994" v="7363"/>
          <ac:spMkLst>
            <pc:docMk/>
            <pc:sldMk cId="3161060149" sldId="283"/>
            <ac:spMk id="117" creationId="{14206964-6D3F-6978-C2F0-BDF2AE52F3AB}"/>
          </ac:spMkLst>
        </pc:spChg>
        <pc:spChg chg="mod">
          <ac:chgData name="Bernardo Lares" userId="c0b75bcc-c53b-4925-b19e-54b7afc94e15" providerId="ADAL" clId="{6E66F923-8F06-4A9C-8933-890757EFA546}" dt="2024-10-31T15:25:33.018" v="7378"/>
          <ac:spMkLst>
            <pc:docMk/>
            <pc:sldMk cId="3161060149" sldId="283"/>
            <ac:spMk id="121" creationId="{63CF882C-30B3-F37C-E2B3-7E0DC903EB34}"/>
          </ac:spMkLst>
        </pc:spChg>
        <pc:spChg chg="mod ord">
          <ac:chgData name="Bernardo Lares" userId="c0b75bcc-c53b-4925-b19e-54b7afc94e15" providerId="ADAL" clId="{6E66F923-8F06-4A9C-8933-890757EFA546}" dt="2024-10-31T15:25:33.027" v="7382"/>
          <ac:spMkLst>
            <pc:docMk/>
            <pc:sldMk cId="3161060149" sldId="283"/>
            <ac:spMk id="123" creationId="{9B1C1941-3B63-C82D-206F-A462C6996215}"/>
          </ac:spMkLst>
        </pc:spChg>
        <pc:spChg chg="mod ord">
          <ac:chgData name="Bernardo Lares" userId="c0b75bcc-c53b-4925-b19e-54b7afc94e15" providerId="ADAL" clId="{6E66F923-8F06-4A9C-8933-890757EFA546}" dt="2024-10-31T15:25:33.031" v="7384"/>
          <ac:spMkLst>
            <pc:docMk/>
            <pc:sldMk cId="3161060149" sldId="283"/>
            <ac:spMk id="124" creationId="{E4901D4E-E15B-401F-8248-568F346A5967}"/>
          </ac:spMkLst>
        </pc:spChg>
        <pc:spChg chg="mod ord">
          <ac:chgData name="Bernardo Lares" userId="c0b75bcc-c53b-4925-b19e-54b7afc94e15" providerId="ADAL" clId="{6E66F923-8F06-4A9C-8933-890757EFA546}" dt="2024-10-31T15:27:29.538" v="7447" actId="20577"/>
          <ac:spMkLst>
            <pc:docMk/>
            <pc:sldMk cId="3161060149" sldId="283"/>
            <ac:spMk id="130" creationId="{3FC57AE3-3E46-0D31-EDB6-994A2160842D}"/>
          </ac:spMkLst>
        </pc:spChg>
        <pc:spChg chg="mod">
          <ac:chgData name="Bernardo Lares" userId="c0b75bcc-c53b-4925-b19e-54b7afc94e15" providerId="ADAL" clId="{6E66F923-8F06-4A9C-8933-890757EFA546}" dt="2024-10-31T15:25:33.021" v="7379"/>
          <ac:spMkLst>
            <pc:docMk/>
            <pc:sldMk cId="3161060149" sldId="283"/>
            <ac:spMk id="172" creationId="{897E78BA-7563-D2DE-4FBC-4C46DE56F1D8}"/>
          </ac:spMkLst>
        </pc:spChg>
        <pc:spChg chg="mod ord">
          <ac:chgData name="Bernardo Lares" userId="c0b75bcc-c53b-4925-b19e-54b7afc94e15" providerId="ADAL" clId="{6E66F923-8F06-4A9C-8933-890757EFA546}" dt="2024-10-31T15:25:33.011" v="7374"/>
          <ac:spMkLst>
            <pc:docMk/>
            <pc:sldMk cId="3161060149" sldId="283"/>
            <ac:spMk id="179" creationId="{CC4E9D9E-5A6D-3B53-DA11-A437B656EA77}"/>
          </ac:spMkLst>
        </pc:spChg>
        <pc:spChg chg="mod ord">
          <ac:chgData name="Bernardo Lares" userId="c0b75bcc-c53b-4925-b19e-54b7afc94e15" providerId="ADAL" clId="{6E66F923-8F06-4A9C-8933-890757EFA546}" dt="2024-10-31T15:27:31.046" v="7448" actId="20577"/>
          <ac:spMkLst>
            <pc:docMk/>
            <pc:sldMk cId="3161060149" sldId="283"/>
            <ac:spMk id="191" creationId="{7DC61600-3C79-3051-ED15-18397250BF0D}"/>
          </ac:spMkLst>
        </pc:spChg>
        <pc:spChg chg="mod ord">
          <ac:chgData name="Bernardo Lares" userId="c0b75bcc-c53b-4925-b19e-54b7afc94e15" providerId="ADAL" clId="{6E66F923-8F06-4A9C-8933-890757EFA546}" dt="2024-10-31T15:25:33.035" v="7388"/>
          <ac:spMkLst>
            <pc:docMk/>
            <pc:sldMk cId="3161060149" sldId="283"/>
            <ac:spMk id="197" creationId="{56530966-454B-F864-2557-109080AC2B03}"/>
          </ac:spMkLst>
        </pc:spChg>
        <pc:spChg chg="mod">
          <ac:chgData name="Bernardo Lares" userId="c0b75bcc-c53b-4925-b19e-54b7afc94e15" providerId="ADAL" clId="{6E66F923-8F06-4A9C-8933-890757EFA546}" dt="2024-10-31T15:25:33.040" v="7390"/>
          <ac:spMkLst>
            <pc:docMk/>
            <pc:sldMk cId="3161060149" sldId="283"/>
            <ac:spMk id="213" creationId="{514391EF-6C99-486B-BFF0-4F4084D1E1FF}"/>
          </ac:spMkLst>
        </pc:spChg>
        <pc:spChg chg="mod">
          <ac:chgData name="Bernardo Lares" userId="c0b75bcc-c53b-4925-b19e-54b7afc94e15" providerId="ADAL" clId="{6E66F923-8F06-4A9C-8933-890757EFA546}" dt="2024-10-31T15:25:33.043" v="7391"/>
          <ac:spMkLst>
            <pc:docMk/>
            <pc:sldMk cId="3161060149" sldId="283"/>
            <ac:spMk id="214" creationId="{38285A3E-FB08-7A96-1294-709A49FA1F0F}"/>
          </ac:spMkLst>
        </pc:spChg>
        <pc:spChg chg="mod">
          <ac:chgData name="Bernardo Lares" userId="c0b75bcc-c53b-4925-b19e-54b7afc94e15" providerId="ADAL" clId="{6E66F923-8F06-4A9C-8933-890757EFA546}" dt="2024-10-31T15:25:33.050" v="7393"/>
          <ac:spMkLst>
            <pc:docMk/>
            <pc:sldMk cId="3161060149" sldId="283"/>
            <ac:spMk id="216" creationId="{D24397BC-B02D-E6D3-23B0-1AE937317B76}"/>
          </ac:spMkLst>
        </pc:spChg>
        <pc:spChg chg="mod">
          <ac:chgData name="Bernardo Lares" userId="c0b75bcc-c53b-4925-b19e-54b7afc94e15" providerId="ADAL" clId="{6E66F923-8F06-4A9C-8933-890757EFA546}" dt="2024-10-31T15:25:33.052" v="7394"/>
          <ac:spMkLst>
            <pc:docMk/>
            <pc:sldMk cId="3161060149" sldId="283"/>
            <ac:spMk id="217" creationId="{A0D71162-2B82-F2CB-865C-5604FAAA0107}"/>
          </ac:spMkLst>
        </pc:spChg>
        <pc:spChg chg="mod ord">
          <ac:chgData name="Bernardo Lares" userId="c0b75bcc-c53b-4925-b19e-54b7afc94e15" providerId="ADAL" clId="{6E66F923-8F06-4A9C-8933-890757EFA546}" dt="2024-10-31T15:25:33.056" v="7397"/>
          <ac:spMkLst>
            <pc:docMk/>
            <pc:sldMk cId="3161060149" sldId="283"/>
            <ac:spMk id="219" creationId="{BDD99BD4-4890-99F3-2E4A-5A9E3D9C1029}"/>
          </ac:spMkLst>
        </pc:spChg>
        <pc:spChg chg="mod ord">
          <ac:chgData name="Bernardo Lares" userId="c0b75bcc-c53b-4925-b19e-54b7afc94e15" providerId="ADAL" clId="{6E66F923-8F06-4A9C-8933-890757EFA546}" dt="2024-10-31T15:25:33.058" v="7399"/>
          <ac:spMkLst>
            <pc:docMk/>
            <pc:sldMk cId="3161060149" sldId="283"/>
            <ac:spMk id="220" creationId="{87200D54-69DA-CC84-404E-E4F8C9FA78AB}"/>
          </ac:spMkLst>
        </pc:spChg>
        <pc:spChg chg="mod">
          <ac:chgData name="Bernardo Lares" userId="c0b75bcc-c53b-4925-b19e-54b7afc94e15" providerId="ADAL" clId="{6E66F923-8F06-4A9C-8933-890757EFA546}" dt="2024-10-31T15:25:33.060" v="7400"/>
          <ac:spMkLst>
            <pc:docMk/>
            <pc:sldMk cId="3161060149" sldId="283"/>
            <ac:spMk id="223" creationId="{7AD74EA7-3392-53B4-2747-8FAE8024F2B3}"/>
          </ac:spMkLst>
        </pc:spChg>
        <pc:spChg chg="mod">
          <ac:chgData name="Bernardo Lares" userId="c0b75bcc-c53b-4925-b19e-54b7afc94e15" providerId="ADAL" clId="{6E66F923-8F06-4A9C-8933-890757EFA546}" dt="2024-10-31T15:25:33.062" v="7401"/>
          <ac:spMkLst>
            <pc:docMk/>
            <pc:sldMk cId="3161060149" sldId="283"/>
            <ac:spMk id="224" creationId="{F913E148-96AF-791E-B797-96F7CEA130A1}"/>
          </ac:spMkLst>
        </pc:spChg>
        <pc:spChg chg="mod ord">
          <ac:chgData name="Bernardo Lares" userId="c0b75bcc-c53b-4925-b19e-54b7afc94e15" providerId="ADAL" clId="{6E66F923-8F06-4A9C-8933-890757EFA546}" dt="2024-10-31T15:29:56.450" v="7563" actId="20577"/>
          <ac:spMkLst>
            <pc:docMk/>
            <pc:sldMk cId="3161060149" sldId="283"/>
            <ac:spMk id="226" creationId="{8E3CCE8D-E5EE-9FB6-86ED-E8BA6204BB6D}"/>
          </ac:spMkLst>
        </pc:spChg>
        <pc:spChg chg="mod">
          <ac:chgData name="Bernardo Lares" userId="c0b75bcc-c53b-4925-b19e-54b7afc94e15" providerId="ADAL" clId="{6E66F923-8F06-4A9C-8933-890757EFA546}" dt="2024-10-31T15:25:33.024" v="7380"/>
          <ac:spMkLst>
            <pc:docMk/>
            <pc:sldMk cId="3161060149" sldId="283"/>
            <ac:spMk id="236" creationId="{E87F248F-4997-010A-2460-DE0F313507F0}"/>
          </ac:spMkLst>
        </pc:spChg>
        <pc:spChg chg="mod ord">
          <ac:chgData name="Bernardo Lares" userId="c0b75bcc-c53b-4925-b19e-54b7afc94e15" providerId="ADAL" clId="{6E66F923-8F06-4A9C-8933-890757EFA546}" dt="2024-10-31T15:25:33.013" v="7376"/>
          <ac:spMkLst>
            <pc:docMk/>
            <pc:sldMk cId="3161060149" sldId="283"/>
            <ac:spMk id="239" creationId="{3C1DF903-E466-B5C2-8456-831D4F150644}"/>
          </ac:spMkLst>
        </pc:spChg>
        <pc:spChg chg="mod ord">
          <ac:chgData name="Bernardo Lares" userId="c0b75bcc-c53b-4925-b19e-54b7afc94e15" providerId="ADAL" clId="{6E66F923-8F06-4A9C-8933-890757EFA546}" dt="2024-10-31T15:25:33.064" v="7403"/>
          <ac:spMkLst>
            <pc:docMk/>
            <pc:sldMk cId="3161060149" sldId="283"/>
            <ac:spMk id="250" creationId="{00BDCFC7-83E2-89D6-2D05-89F802B1C013}"/>
          </ac:spMkLst>
        </pc:spChg>
        <pc:spChg chg="mod ord">
          <ac:chgData name="Bernardo Lares" userId="c0b75bcc-c53b-4925-b19e-54b7afc94e15" providerId="ADAL" clId="{6E66F923-8F06-4A9C-8933-890757EFA546}" dt="2024-10-31T15:25:32.983" v="7354"/>
          <ac:spMkLst>
            <pc:docMk/>
            <pc:sldMk cId="3161060149" sldId="283"/>
            <ac:spMk id="255" creationId="{31AB1DF8-C98D-90D1-DDD9-4722D62D5FA9}"/>
          </ac:spMkLst>
        </pc:spChg>
        <pc:graphicFrameChg chg="add del mod replST">
          <ac:chgData name="Bernardo Lares" userId="c0b75bcc-c53b-4925-b19e-54b7afc94e15" providerId="ADAL" clId="{6E66F923-8F06-4A9C-8933-890757EFA546}" dt="2024-10-31T15:24:09.243" v="6422"/>
          <ac:graphicFrameMkLst>
            <pc:docMk/>
            <pc:sldMk cId="3161060149" sldId="283"/>
            <ac:graphicFrameMk id="6" creationId="{20AECA2A-8A8B-F973-91E1-AF6B65BBCA7D}"/>
          </ac:graphicFrameMkLst>
        </pc:graphicFrameChg>
        <pc:graphicFrameChg chg="mod">
          <ac:chgData name="Bernardo Lares" userId="c0b75bcc-c53b-4925-b19e-54b7afc94e15" providerId="ADAL" clId="{6E66F923-8F06-4A9C-8933-890757EFA546}" dt="2024-10-31T15:25:33.073" v="7407"/>
          <ac:graphicFrameMkLst>
            <pc:docMk/>
            <pc:sldMk cId="3161060149" sldId="283"/>
            <ac:graphicFrameMk id="7" creationId="{00000000-0000-0000-0000-000000000000}"/>
          </ac:graphicFrameMkLst>
        </pc:graphicFrameChg>
        <pc:graphicFrameChg chg="add del mod replST">
          <ac:chgData name="Bernardo Lares" userId="c0b75bcc-c53b-4925-b19e-54b7afc94e15" providerId="ADAL" clId="{6E66F923-8F06-4A9C-8933-890757EFA546}" dt="2024-10-31T15:24:11.350" v="6511"/>
          <ac:graphicFrameMkLst>
            <pc:docMk/>
            <pc:sldMk cId="3161060149" sldId="283"/>
            <ac:graphicFrameMk id="9" creationId="{5DAE12AC-5F95-EDE6-4B9A-B8B9122521A5}"/>
          </ac:graphicFrameMkLst>
        </pc:graphicFrameChg>
        <pc:graphicFrameChg chg="add del mod replST">
          <ac:chgData name="Bernardo Lares" userId="c0b75bcc-c53b-4925-b19e-54b7afc94e15" providerId="ADAL" clId="{6E66F923-8F06-4A9C-8933-890757EFA546}" dt="2024-10-31T15:24:27.565" v="6628"/>
          <ac:graphicFrameMkLst>
            <pc:docMk/>
            <pc:sldMk cId="3161060149" sldId="283"/>
            <ac:graphicFrameMk id="10" creationId="{A9535385-E42D-2D6A-F65B-C611C95D1308}"/>
          </ac:graphicFrameMkLst>
        </pc:graphicFrameChg>
        <pc:graphicFrameChg chg="add del mod replST">
          <ac:chgData name="Bernardo Lares" userId="c0b75bcc-c53b-4925-b19e-54b7afc94e15" providerId="ADAL" clId="{6E66F923-8F06-4A9C-8933-890757EFA546}" dt="2024-10-31T15:24:38.165" v="6765"/>
          <ac:graphicFrameMkLst>
            <pc:docMk/>
            <pc:sldMk cId="3161060149" sldId="283"/>
            <ac:graphicFrameMk id="12" creationId="{78C732B1-9624-4D1A-EA3E-BC9D44B4FB28}"/>
          </ac:graphicFrameMkLst>
        </pc:graphicFrameChg>
        <pc:graphicFrameChg chg="add del mod replST">
          <ac:chgData name="Bernardo Lares" userId="c0b75bcc-c53b-4925-b19e-54b7afc94e15" providerId="ADAL" clId="{6E66F923-8F06-4A9C-8933-890757EFA546}" dt="2024-10-31T15:24:59.755" v="6902"/>
          <ac:graphicFrameMkLst>
            <pc:docMk/>
            <pc:sldMk cId="3161060149" sldId="283"/>
            <ac:graphicFrameMk id="14" creationId="{9E1F9E17-8437-4E3F-A723-6801325534BA}"/>
          </ac:graphicFrameMkLst>
        </pc:graphicFrameChg>
        <pc:graphicFrameChg chg="add del mod replST">
          <ac:chgData name="Bernardo Lares" userId="c0b75bcc-c53b-4925-b19e-54b7afc94e15" providerId="ADAL" clId="{6E66F923-8F06-4A9C-8933-890757EFA546}" dt="2024-10-31T15:25:07.855" v="7039"/>
          <ac:graphicFrameMkLst>
            <pc:docMk/>
            <pc:sldMk cId="3161060149" sldId="283"/>
            <ac:graphicFrameMk id="16" creationId="{70835C4F-4DDD-D58B-75B5-C0D9BB3B3868}"/>
          </ac:graphicFrameMkLst>
        </pc:graphicFrameChg>
        <pc:graphicFrameChg chg="add del mod replST">
          <ac:chgData name="Bernardo Lares" userId="c0b75bcc-c53b-4925-b19e-54b7afc94e15" providerId="ADAL" clId="{6E66F923-8F06-4A9C-8933-890757EFA546}" dt="2024-10-31T15:25:29.702" v="7176"/>
          <ac:graphicFrameMkLst>
            <pc:docMk/>
            <pc:sldMk cId="3161060149" sldId="283"/>
            <ac:graphicFrameMk id="18" creationId="{B8326312-0867-3A4D-9BD1-AA44AF98F6D5}"/>
          </ac:graphicFrameMkLst>
        </pc:graphicFrameChg>
        <pc:graphicFrameChg chg="add del mod replST">
          <ac:chgData name="Bernardo Lares" userId="c0b75bcc-c53b-4925-b19e-54b7afc94e15" providerId="ADAL" clId="{6E66F923-8F06-4A9C-8933-890757EFA546}" dt="2024-10-31T15:25:32.781" v="7313"/>
          <ac:graphicFrameMkLst>
            <pc:docMk/>
            <pc:sldMk cId="3161060149" sldId="283"/>
            <ac:graphicFrameMk id="22" creationId="{4EDB898A-0466-D4BF-4655-7489DF495FC0}"/>
          </ac:graphicFrameMkLst>
        </pc:graphicFrameChg>
        <pc:graphicFrameChg chg="add mod replST">
          <ac:chgData name="Bernardo Lares" userId="c0b75bcc-c53b-4925-b19e-54b7afc94e15" providerId="ADAL" clId="{6E66F923-8F06-4A9C-8933-890757EFA546}" dt="2024-10-31T15:25:33" v="7366"/>
          <ac:graphicFrameMkLst>
            <pc:docMk/>
            <pc:sldMk cId="3161060149" sldId="283"/>
            <ac:graphicFrameMk id="24" creationId="{FB6E0B93-D31E-9CB2-C2E8-11449228FC8E}"/>
          </ac:graphicFrameMkLst>
        </pc:graphicFrameChg>
        <pc:graphicFrameChg chg="mod">
          <ac:chgData name="Bernardo Lares" userId="c0b75bcc-c53b-4925-b19e-54b7afc94e15" providerId="ADAL" clId="{6E66F923-8F06-4A9C-8933-890757EFA546}" dt="2024-10-31T15:25:32.980" v="7350"/>
          <ac:graphicFrameMkLst>
            <pc:docMk/>
            <pc:sldMk cId="3161060149" sldId="283"/>
            <ac:graphicFrameMk id="41" creationId="{8A95C963-C5EC-FB2E-25D2-129CF2BD6ED0}"/>
          </ac:graphicFrameMkLst>
        </pc:graphicFrameChg>
        <pc:graphicFrameChg chg="del">
          <ac:chgData name="Bernardo Lares" userId="c0b75bcc-c53b-4925-b19e-54b7afc94e15" providerId="ADAL" clId="{6E66F923-8F06-4A9C-8933-890757EFA546}" dt="2024-10-31T15:24:07.326" v="6332"/>
          <ac:graphicFrameMkLst>
            <pc:docMk/>
            <pc:sldMk cId="3161060149" sldId="283"/>
            <ac:graphicFrameMk id="247" creationId="{587656CD-527F-B40E-62AD-95BA34B6A8FA}"/>
          </ac:graphicFrameMkLst>
        </pc:graphicFrameChg>
        <pc:graphicFrameChg chg="mod">
          <ac:chgData name="Bernardo Lares" userId="c0b75bcc-c53b-4925-b19e-54b7afc94e15" providerId="ADAL" clId="{6E66F923-8F06-4A9C-8933-890757EFA546}" dt="2024-10-31T15:25:33.037" v="7389"/>
          <ac:graphicFrameMkLst>
            <pc:docMk/>
            <pc:sldMk cId="3161060149" sldId="283"/>
            <ac:graphicFrameMk id="254" creationId="{AC7B39AA-3FC0-CF7E-32E6-22C65C8B2088}"/>
          </ac:graphicFrameMkLst>
        </pc:graphicFrameChg>
        <pc:picChg chg="mod ord">
          <ac:chgData name="Bernardo Lares" userId="c0b75bcc-c53b-4925-b19e-54b7afc94e15" providerId="ADAL" clId="{6E66F923-8F06-4A9C-8933-890757EFA546}" dt="2024-10-31T15:25:32.976" v="7347"/>
          <ac:picMkLst>
            <pc:docMk/>
            <pc:sldMk cId="3161060149" sldId="283"/>
            <ac:picMk id="21" creationId="{0C0B2D6C-0580-45FB-A32F-2A017011F7CE}"/>
          </ac:picMkLst>
        </pc:picChg>
      </pc:sldChg>
      <pc:sldMasterChg chg="addSldLayout delSldLayout modSldLayout sldLayoutOrd">
        <pc:chgData name="Bernardo Lares" userId="c0b75bcc-c53b-4925-b19e-54b7afc94e15" providerId="ADAL" clId="{6E66F923-8F06-4A9C-8933-890757EFA546}" dt="2024-10-31T14:26:30.761" v="6016" actId="6014"/>
        <pc:sldMasterMkLst>
          <pc:docMk/>
          <pc:sldMasterMk cId="3442277182" sldId="2147483788"/>
        </pc:sldMasterMkLst>
        <pc:sldLayoutChg chg="modSp">
          <pc:chgData name="Bernardo Lares" userId="c0b75bcc-c53b-4925-b19e-54b7afc94e15" providerId="ADAL" clId="{6E66F923-8F06-4A9C-8933-890757EFA546}" dt="2024-10-09T15:56:33.470" v="0" actId="255"/>
          <pc:sldLayoutMkLst>
            <pc:docMk/>
            <pc:sldMasterMk cId="3442277182" sldId="2147483788"/>
            <pc:sldLayoutMk cId="2872251708" sldId="2147483789"/>
          </pc:sldLayoutMkLst>
          <pc:spChg chg="mod">
            <ac:chgData name="Bernardo Lares" userId="c0b75bcc-c53b-4925-b19e-54b7afc94e15" providerId="ADAL" clId="{6E66F923-8F06-4A9C-8933-890757EFA546}" dt="2024-10-09T15:56:33.470" v="0" actId="255"/>
            <ac:spMkLst>
              <pc:docMk/>
              <pc:sldMasterMk cId="3442277182" sldId="2147483788"/>
              <pc:sldLayoutMk cId="2872251708" sldId="2147483789"/>
              <ac:spMk id="11" creationId="{E3F42345-CCFC-E059-03DA-F397DED86EBE}"/>
            </ac:spMkLst>
          </pc:spChg>
          <pc:spChg chg="mod">
            <ac:chgData name="Bernardo Lares" userId="c0b75bcc-c53b-4925-b19e-54b7afc94e15" providerId="ADAL" clId="{6E66F923-8F06-4A9C-8933-890757EFA546}" dt="2024-10-09T15:56:33.470" v="0" actId="255"/>
            <ac:spMkLst>
              <pc:docMk/>
              <pc:sldMasterMk cId="3442277182" sldId="2147483788"/>
              <pc:sldLayoutMk cId="2872251708" sldId="2147483789"/>
              <ac:spMk id="12" creationId="{5D029F58-8663-7EC8-72E4-82776A4FBDEC}"/>
            </ac:spMkLst>
          </pc:spChg>
          <pc:spChg chg="mod">
            <ac:chgData name="Bernardo Lares" userId="c0b75bcc-c53b-4925-b19e-54b7afc94e15" providerId="ADAL" clId="{6E66F923-8F06-4A9C-8933-890757EFA546}" dt="2024-10-09T15:56:33.470" v="0" actId="255"/>
            <ac:spMkLst>
              <pc:docMk/>
              <pc:sldMasterMk cId="3442277182" sldId="2147483788"/>
              <pc:sldLayoutMk cId="2872251708" sldId="2147483789"/>
              <ac:spMk id="13" creationId="{FE5BEE8E-864D-B17B-26F8-D09E31D9E7CC}"/>
            </ac:spMkLst>
          </pc:spChg>
        </pc:sldLayoutChg>
        <pc:sldLayoutChg chg="del">
          <pc:chgData name="Bernardo Lares" userId="c0b75bcc-c53b-4925-b19e-54b7afc94e15" providerId="ADAL" clId="{6E66F923-8F06-4A9C-8933-890757EFA546}" dt="2024-10-16T12:04:56.515" v="4994" actId="2696"/>
          <pc:sldLayoutMkLst>
            <pc:docMk/>
            <pc:sldMasterMk cId="3442277182" sldId="2147483788"/>
            <pc:sldLayoutMk cId="601294558" sldId="2147483793"/>
          </pc:sldLayoutMkLst>
        </pc:sldLayoutChg>
        <pc:sldLayoutChg chg="delSp modSp mod ord">
          <pc:chgData name="Bernardo Lares" userId="c0b75bcc-c53b-4925-b19e-54b7afc94e15" providerId="ADAL" clId="{6E66F923-8F06-4A9C-8933-890757EFA546}" dt="2024-10-16T10:18:02.859" v="643" actId="20578"/>
          <pc:sldLayoutMkLst>
            <pc:docMk/>
            <pc:sldMasterMk cId="3442277182" sldId="2147483788"/>
            <pc:sldLayoutMk cId="4083270127" sldId="2147483794"/>
          </pc:sldLayoutMkLst>
          <pc:spChg chg="del">
            <ac:chgData name="Bernardo Lares" userId="c0b75bcc-c53b-4925-b19e-54b7afc94e15" providerId="ADAL" clId="{6E66F923-8F06-4A9C-8933-890757EFA546}" dt="2024-10-09T15:57:36.875" v="8" actId="478"/>
            <ac:spMkLst>
              <pc:docMk/>
              <pc:sldMasterMk cId="3442277182" sldId="2147483788"/>
              <pc:sldLayoutMk cId="4083270127" sldId="2147483794"/>
              <ac:spMk id="6" creationId="{00000000-0000-0000-0000-000000000000}"/>
            </ac:spMkLst>
          </pc:spChg>
          <pc:spChg chg="mod">
            <ac:chgData name="Bernardo Lares" userId="c0b75bcc-c53b-4925-b19e-54b7afc94e15" providerId="ADAL" clId="{6E66F923-8F06-4A9C-8933-890757EFA546}" dt="2024-10-09T15:57:46.294" v="10" actId="404"/>
            <ac:spMkLst>
              <pc:docMk/>
              <pc:sldMasterMk cId="3442277182" sldId="2147483788"/>
              <pc:sldLayoutMk cId="4083270127" sldId="2147483794"/>
              <ac:spMk id="18" creationId="{0DD48070-D695-60C2-898C-9832D9369B0C}"/>
            </ac:spMkLst>
          </pc:spChg>
        </pc:sldLayoutChg>
        <pc:sldLayoutChg chg="delSp modSp mod ord">
          <pc:chgData name="Bernardo Lares" userId="c0b75bcc-c53b-4925-b19e-54b7afc94e15" providerId="ADAL" clId="{6E66F923-8F06-4A9C-8933-890757EFA546}" dt="2024-10-31T14:26:30.761" v="6016" actId="6014"/>
          <pc:sldLayoutMkLst>
            <pc:docMk/>
            <pc:sldMasterMk cId="3442277182" sldId="2147483788"/>
            <pc:sldLayoutMk cId="3296186206" sldId="2147483795"/>
          </pc:sldLayoutMkLst>
          <pc:spChg chg="mod">
            <ac:chgData name="Bernardo Lares" userId="c0b75bcc-c53b-4925-b19e-54b7afc94e15" providerId="ADAL" clId="{6E66F923-8F06-4A9C-8933-890757EFA546}" dt="2024-10-31T14:26:20.320" v="6015" actId="14100"/>
            <ac:spMkLst>
              <pc:docMk/>
              <pc:sldMasterMk cId="3442277182" sldId="2147483788"/>
              <pc:sldLayoutMk cId="3296186206" sldId="2147483795"/>
              <ac:spMk id="11" creationId="{0222423B-5423-CFD3-AB33-EAB059EC2845}"/>
            </ac:spMkLst>
          </pc:spChg>
          <pc:spChg chg="del mod">
            <ac:chgData name="Bernardo Lares" userId="c0b75bcc-c53b-4925-b19e-54b7afc94e15" providerId="ADAL" clId="{6E66F923-8F06-4A9C-8933-890757EFA546}" dt="2024-10-31T14:26:13.256" v="6014" actId="478"/>
            <ac:spMkLst>
              <pc:docMk/>
              <pc:sldMasterMk cId="3442277182" sldId="2147483788"/>
              <pc:sldLayoutMk cId="3296186206" sldId="2147483795"/>
              <ac:spMk id="12" creationId="{DF1D6677-401A-F2BA-502D-D2EEA5B19D35}"/>
            </ac:spMkLst>
          </pc:spChg>
        </pc:sldLayoutChg>
        <pc:sldLayoutChg chg="del">
          <pc:chgData name="Bernardo Lares" userId="c0b75bcc-c53b-4925-b19e-54b7afc94e15" providerId="ADAL" clId="{6E66F923-8F06-4A9C-8933-890757EFA546}" dt="2024-10-16T12:04:56.522" v="4995" actId="2696"/>
          <pc:sldLayoutMkLst>
            <pc:docMk/>
            <pc:sldMasterMk cId="3442277182" sldId="2147483788"/>
            <pc:sldLayoutMk cId="1903616871" sldId="2147483797"/>
          </pc:sldLayoutMkLst>
        </pc:sldLayoutChg>
        <pc:sldLayoutChg chg="del">
          <pc:chgData name="Bernardo Lares" userId="c0b75bcc-c53b-4925-b19e-54b7afc94e15" providerId="ADAL" clId="{6E66F923-8F06-4A9C-8933-890757EFA546}" dt="2024-10-16T12:04:56.528" v="4996" actId="2696"/>
          <pc:sldLayoutMkLst>
            <pc:docMk/>
            <pc:sldMasterMk cId="3442277182" sldId="2147483788"/>
            <pc:sldLayoutMk cId="2195743985" sldId="2147483798"/>
          </pc:sldLayoutMkLst>
        </pc:sldLayoutChg>
        <pc:sldLayoutChg chg="del">
          <pc:chgData name="Bernardo Lares" userId="c0b75bcc-c53b-4925-b19e-54b7afc94e15" providerId="ADAL" clId="{6E66F923-8F06-4A9C-8933-890757EFA546}" dt="2024-10-16T12:04:56.534" v="4997" actId="2696"/>
          <pc:sldLayoutMkLst>
            <pc:docMk/>
            <pc:sldMasterMk cId="3442277182" sldId="2147483788"/>
            <pc:sldLayoutMk cId="2657563617" sldId="2147483799"/>
          </pc:sldLayoutMkLst>
        </pc:sldLayoutChg>
        <pc:sldLayoutChg chg="del">
          <pc:chgData name="Bernardo Lares" userId="c0b75bcc-c53b-4925-b19e-54b7afc94e15" providerId="ADAL" clId="{6E66F923-8F06-4A9C-8933-890757EFA546}" dt="2024-10-16T12:04:56.540" v="4998" actId="2696"/>
          <pc:sldLayoutMkLst>
            <pc:docMk/>
            <pc:sldMasterMk cId="3442277182" sldId="2147483788"/>
            <pc:sldLayoutMk cId="2483490201" sldId="2147483802"/>
          </pc:sldLayoutMkLst>
        </pc:sldLayoutChg>
        <pc:sldLayoutChg chg="del">
          <pc:chgData name="Bernardo Lares" userId="c0b75bcc-c53b-4925-b19e-54b7afc94e15" providerId="ADAL" clId="{6E66F923-8F06-4A9C-8933-890757EFA546}" dt="2024-10-16T12:04:56.548" v="4999" actId="2696"/>
          <pc:sldLayoutMkLst>
            <pc:docMk/>
            <pc:sldMasterMk cId="3442277182" sldId="2147483788"/>
            <pc:sldLayoutMk cId="357315804" sldId="2147483803"/>
          </pc:sldLayoutMkLst>
        </pc:sldLayoutChg>
        <pc:sldLayoutChg chg="del">
          <pc:chgData name="Bernardo Lares" userId="c0b75bcc-c53b-4925-b19e-54b7afc94e15" providerId="ADAL" clId="{6E66F923-8F06-4A9C-8933-890757EFA546}" dt="2024-10-16T12:04:56.554" v="5000" actId="2696"/>
          <pc:sldLayoutMkLst>
            <pc:docMk/>
            <pc:sldMasterMk cId="3442277182" sldId="2147483788"/>
            <pc:sldLayoutMk cId="3770232534" sldId="2147483804"/>
          </pc:sldLayoutMkLst>
        </pc:sldLayoutChg>
        <pc:sldLayoutChg chg="del">
          <pc:chgData name="Bernardo Lares" userId="c0b75bcc-c53b-4925-b19e-54b7afc94e15" providerId="ADAL" clId="{6E66F923-8F06-4A9C-8933-890757EFA546}" dt="2024-10-16T12:04:56.560" v="5001" actId="2696"/>
          <pc:sldLayoutMkLst>
            <pc:docMk/>
            <pc:sldMasterMk cId="3442277182" sldId="2147483788"/>
            <pc:sldLayoutMk cId="2931699322" sldId="2147483805"/>
          </pc:sldLayoutMkLst>
        </pc:sldLayoutChg>
        <pc:sldLayoutChg chg="del">
          <pc:chgData name="Bernardo Lares" userId="c0b75bcc-c53b-4925-b19e-54b7afc94e15" providerId="ADAL" clId="{6E66F923-8F06-4A9C-8933-890757EFA546}" dt="2024-10-16T12:04:56.566" v="5002" actId="2696"/>
          <pc:sldLayoutMkLst>
            <pc:docMk/>
            <pc:sldMasterMk cId="3442277182" sldId="2147483788"/>
            <pc:sldLayoutMk cId="3021665348" sldId="2147483806"/>
          </pc:sldLayoutMkLst>
        </pc:sldLayoutChg>
        <pc:sldLayoutChg chg="del">
          <pc:chgData name="Bernardo Lares" userId="c0b75bcc-c53b-4925-b19e-54b7afc94e15" providerId="ADAL" clId="{6E66F923-8F06-4A9C-8933-890757EFA546}" dt="2024-10-16T12:04:56.573" v="5003" actId="2696"/>
          <pc:sldLayoutMkLst>
            <pc:docMk/>
            <pc:sldMasterMk cId="3442277182" sldId="2147483788"/>
            <pc:sldLayoutMk cId="49910506" sldId="2147483807"/>
          </pc:sldLayoutMkLst>
        </pc:sldLayoutChg>
        <pc:sldLayoutChg chg="del">
          <pc:chgData name="Bernardo Lares" userId="c0b75bcc-c53b-4925-b19e-54b7afc94e15" providerId="ADAL" clId="{6E66F923-8F06-4A9C-8933-890757EFA546}" dt="2024-10-16T12:04:56.582" v="5004" actId="2696"/>
          <pc:sldLayoutMkLst>
            <pc:docMk/>
            <pc:sldMasterMk cId="3442277182" sldId="2147483788"/>
            <pc:sldLayoutMk cId="3594923294" sldId="2147483808"/>
          </pc:sldLayoutMkLst>
        </pc:sldLayoutChg>
        <pc:sldLayoutChg chg="del">
          <pc:chgData name="Bernardo Lares" userId="c0b75bcc-c53b-4925-b19e-54b7afc94e15" providerId="ADAL" clId="{6E66F923-8F06-4A9C-8933-890757EFA546}" dt="2024-10-16T12:04:56.587" v="5005" actId="2696"/>
          <pc:sldLayoutMkLst>
            <pc:docMk/>
            <pc:sldMasterMk cId="3442277182" sldId="2147483788"/>
            <pc:sldLayoutMk cId="3431371445" sldId="2147483809"/>
          </pc:sldLayoutMkLst>
        </pc:sldLayoutChg>
        <pc:sldLayoutChg chg="del">
          <pc:chgData name="Bernardo Lares" userId="c0b75bcc-c53b-4925-b19e-54b7afc94e15" providerId="ADAL" clId="{6E66F923-8F06-4A9C-8933-890757EFA546}" dt="2024-10-16T12:04:56.592" v="5006" actId="2696"/>
          <pc:sldLayoutMkLst>
            <pc:docMk/>
            <pc:sldMasterMk cId="3442277182" sldId="2147483788"/>
            <pc:sldLayoutMk cId="2051973269" sldId="2147483810"/>
          </pc:sldLayoutMkLst>
        </pc:sldLayoutChg>
        <pc:sldLayoutChg chg="del">
          <pc:chgData name="Bernardo Lares" userId="c0b75bcc-c53b-4925-b19e-54b7afc94e15" providerId="ADAL" clId="{6E66F923-8F06-4A9C-8933-890757EFA546}" dt="2024-10-16T12:04:56.596" v="5007" actId="2696"/>
          <pc:sldLayoutMkLst>
            <pc:docMk/>
            <pc:sldMasterMk cId="3442277182" sldId="2147483788"/>
            <pc:sldLayoutMk cId="2103348805" sldId="2147483811"/>
          </pc:sldLayoutMkLst>
        </pc:sldLayoutChg>
        <pc:sldLayoutChg chg="del">
          <pc:chgData name="Bernardo Lares" userId="c0b75bcc-c53b-4925-b19e-54b7afc94e15" providerId="ADAL" clId="{6E66F923-8F06-4A9C-8933-890757EFA546}" dt="2024-10-16T12:04:56.601" v="5008" actId="2696"/>
          <pc:sldLayoutMkLst>
            <pc:docMk/>
            <pc:sldMasterMk cId="3442277182" sldId="2147483788"/>
            <pc:sldLayoutMk cId="3529102102" sldId="2147483812"/>
          </pc:sldLayoutMkLst>
        </pc:sldLayoutChg>
        <pc:sldLayoutChg chg="del">
          <pc:chgData name="Bernardo Lares" userId="c0b75bcc-c53b-4925-b19e-54b7afc94e15" providerId="ADAL" clId="{6E66F923-8F06-4A9C-8933-890757EFA546}" dt="2024-10-16T12:04:56.634" v="5009" actId="2696"/>
          <pc:sldLayoutMkLst>
            <pc:docMk/>
            <pc:sldMasterMk cId="3442277182" sldId="2147483788"/>
            <pc:sldLayoutMk cId="3721327415" sldId="2147483813"/>
          </pc:sldLayoutMkLst>
        </pc:sldLayoutChg>
        <pc:sldLayoutChg chg="del">
          <pc:chgData name="Bernardo Lares" userId="c0b75bcc-c53b-4925-b19e-54b7afc94e15" providerId="ADAL" clId="{6E66F923-8F06-4A9C-8933-890757EFA546}" dt="2024-10-16T12:04:56.667" v="5010" actId="2696"/>
          <pc:sldLayoutMkLst>
            <pc:docMk/>
            <pc:sldMasterMk cId="3442277182" sldId="2147483788"/>
            <pc:sldLayoutMk cId="1673510414" sldId="2147483814"/>
          </pc:sldLayoutMkLst>
        </pc:sldLayoutChg>
        <pc:sldLayoutChg chg="addSp delSp modSp mod">
          <pc:chgData name="Bernardo Lares" userId="c0b75bcc-c53b-4925-b19e-54b7afc94e15" providerId="ADAL" clId="{6E66F923-8F06-4A9C-8933-890757EFA546}" dt="2024-10-31T14:25:35.564" v="6011" actId="6014"/>
          <pc:sldLayoutMkLst>
            <pc:docMk/>
            <pc:sldMasterMk cId="3442277182" sldId="2147483788"/>
            <pc:sldLayoutMk cId="1808919634" sldId="2147483815"/>
          </pc:sldLayoutMkLst>
          <pc:spChg chg="add del mod modVis">
            <ac:chgData name="Bernardo Lares" userId="c0b75bcc-c53b-4925-b19e-54b7afc94e15" providerId="ADAL" clId="{6E66F923-8F06-4A9C-8933-890757EFA546}" dt="2024-10-31T14:19:36.204" v="5056"/>
            <ac:spMkLst>
              <pc:docMk/>
              <pc:sldMasterMk cId="3442277182" sldId="2147483788"/>
              <pc:sldLayoutMk cId="1808919634" sldId="2147483815"/>
              <ac:spMk id="5" creationId="{77122ADA-CE7D-F4AE-30AA-A158E579E5E8}"/>
            </ac:spMkLst>
          </pc:spChg>
          <pc:spChg chg="mod">
            <ac:chgData name="Bernardo Lares" userId="c0b75bcc-c53b-4925-b19e-54b7afc94e15" providerId="ADAL" clId="{6E66F923-8F06-4A9C-8933-890757EFA546}" dt="2024-10-31T14:19:36.148" v="5031" actId="948"/>
            <ac:spMkLst>
              <pc:docMk/>
              <pc:sldMasterMk cId="3442277182" sldId="2147483788"/>
              <pc:sldLayoutMk cId="1808919634" sldId="2147483815"/>
              <ac:spMk id="8" creationId="{1F7EFD61-0B79-2619-1483-7B804B2C82CE}"/>
            </ac:spMkLst>
          </pc:spChg>
          <pc:spChg chg="mod">
            <ac:chgData name="Bernardo Lares" userId="c0b75bcc-c53b-4925-b19e-54b7afc94e15" providerId="ADAL" clId="{6E66F923-8F06-4A9C-8933-890757EFA546}" dt="2024-10-31T14:19:40.804" v="5059" actId="962"/>
            <ac:spMkLst>
              <pc:docMk/>
              <pc:sldMasterMk cId="3442277182" sldId="2147483788"/>
              <pc:sldLayoutMk cId="1808919634" sldId="2147483815"/>
              <ac:spMk id="9" creationId="{BBC9BD8C-031D-7F0A-C46B-D38FB0136781}"/>
            </ac:spMkLst>
          </pc:spChg>
          <pc:graphicFrameChg chg="del">
            <ac:chgData name="Bernardo Lares" userId="c0b75bcc-c53b-4925-b19e-54b7afc94e15" providerId="ADAL" clId="{6E66F923-8F06-4A9C-8933-890757EFA546}" dt="2024-10-31T14:19:36.202" v="5054"/>
            <ac:graphicFrameMkLst>
              <pc:docMk/>
              <pc:sldMasterMk cId="3442277182" sldId="2147483788"/>
              <pc:sldLayoutMk cId="1808919634" sldId="2147483815"/>
              <ac:graphicFrameMk id="2" creationId="{B465F7C9-2DD0-029B-C39C-E172165ABDAB}"/>
            </ac:graphicFrameMkLst>
          </pc:graphicFrameChg>
          <pc:graphicFrameChg chg="mod">
            <ac:chgData name="Bernardo Lares" userId="c0b75bcc-c53b-4925-b19e-54b7afc94e15" providerId="ADAL" clId="{6E66F923-8F06-4A9C-8933-890757EFA546}" dt="2024-10-31T14:19:36.206" v="5058"/>
            <ac:graphicFrameMkLst>
              <pc:docMk/>
              <pc:sldMasterMk cId="3442277182" sldId="2147483788"/>
              <pc:sldLayoutMk cId="1808919634" sldId="2147483815"/>
              <ac:graphicFrameMk id="3" creationId="{2E210B85-691C-7298-6DB6-61C25A5191F9}"/>
            </ac:graphicFrameMkLst>
          </pc:graphicFrameChg>
        </pc:sldLayoutChg>
        <pc:sldLayoutChg chg="addSp delSp modSp mod">
          <pc:chgData name="Bernardo Lares" userId="c0b75bcc-c53b-4925-b19e-54b7afc94e15" providerId="ADAL" clId="{6E66F923-8F06-4A9C-8933-890757EFA546}" dt="2024-10-31T14:25:40.667" v="6012" actId="6014"/>
          <pc:sldLayoutMkLst>
            <pc:docMk/>
            <pc:sldMasterMk cId="3442277182" sldId="2147483788"/>
            <pc:sldLayoutMk cId="1471187284" sldId="2147483816"/>
          </pc:sldLayoutMkLst>
          <pc:spChg chg="add del mod modVis">
            <ac:chgData name="Bernardo Lares" userId="c0b75bcc-c53b-4925-b19e-54b7afc94e15" providerId="ADAL" clId="{6E66F923-8F06-4A9C-8933-890757EFA546}" dt="2024-10-31T14:20:11.020" v="5089"/>
            <ac:spMkLst>
              <pc:docMk/>
              <pc:sldMasterMk cId="3442277182" sldId="2147483788"/>
              <pc:sldLayoutMk cId="1471187284" sldId="2147483816"/>
              <ac:spMk id="5" creationId="{5A2197A7-02F5-F59D-CAE5-F70957D7C603}"/>
            </ac:spMkLst>
          </pc:spChg>
          <pc:spChg chg="mod">
            <ac:chgData name="Bernardo Lares" userId="c0b75bcc-c53b-4925-b19e-54b7afc94e15" providerId="ADAL" clId="{6E66F923-8F06-4A9C-8933-890757EFA546}" dt="2024-10-31T14:20:10.957" v="5064" actId="948"/>
            <ac:spMkLst>
              <pc:docMk/>
              <pc:sldMasterMk cId="3442277182" sldId="2147483788"/>
              <pc:sldLayoutMk cId="1471187284" sldId="2147483816"/>
              <ac:spMk id="6" creationId="{7905DD1F-ADCE-21F5-3B42-348B73562E77}"/>
            </ac:spMkLst>
          </pc:spChg>
          <pc:spChg chg="mod">
            <ac:chgData name="Bernardo Lares" userId="c0b75bcc-c53b-4925-b19e-54b7afc94e15" providerId="ADAL" clId="{6E66F923-8F06-4A9C-8933-890757EFA546}" dt="2024-10-31T14:20:07.215" v="5062" actId="962"/>
            <ac:spMkLst>
              <pc:docMk/>
              <pc:sldMasterMk cId="3442277182" sldId="2147483788"/>
              <pc:sldLayoutMk cId="1471187284" sldId="2147483816"/>
              <ac:spMk id="7" creationId="{1A65F606-CDCB-0367-61AA-199FECCB3A72}"/>
            </ac:spMkLst>
          </pc:spChg>
          <pc:graphicFrameChg chg="del">
            <ac:chgData name="Bernardo Lares" userId="c0b75bcc-c53b-4925-b19e-54b7afc94e15" providerId="ADAL" clId="{6E66F923-8F06-4A9C-8933-890757EFA546}" dt="2024-10-31T14:20:11.017" v="5087"/>
            <ac:graphicFrameMkLst>
              <pc:docMk/>
              <pc:sldMasterMk cId="3442277182" sldId="2147483788"/>
              <pc:sldLayoutMk cId="1471187284" sldId="2147483816"/>
              <ac:graphicFrameMk id="2" creationId="{C974C1E3-F673-6C02-80D2-918CC00E2B06}"/>
            </ac:graphicFrameMkLst>
          </pc:graphicFrameChg>
          <pc:graphicFrameChg chg="mod">
            <ac:chgData name="Bernardo Lares" userId="c0b75bcc-c53b-4925-b19e-54b7afc94e15" providerId="ADAL" clId="{6E66F923-8F06-4A9C-8933-890757EFA546}" dt="2024-10-31T14:20:11.024" v="5091"/>
            <ac:graphicFrameMkLst>
              <pc:docMk/>
              <pc:sldMasterMk cId="3442277182" sldId="2147483788"/>
              <pc:sldLayoutMk cId="1471187284" sldId="2147483816"/>
              <ac:graphicFrameMk id="3" creationId="{C8276E86-C9B6-1B20-0470-A93E9FE76804}"/>
            </ac:graphicFrameMkLst>
          </pc:graphicFrameChg>
        </pc:sldLayoutChg>
        <pc:sldLayoutChg chg="del">
          <pc:chgData name="Bernardo Lares" userId="c0b75bcc-c53b-4925-b19e-54b7afc94e15" providerId="ADAL" clId="{6E66F923-8F06-4A9C-8933-890757EFA546}" dt="2024-10-16T12:05:01.637" v="5011" actId="2696"/>
          <pc:sldLayoutMkLst>
            <pc:docMk/>
            <pc:sldMasterMk cId="3442277182" sldId="2147483788"/>
            <pc:sldLayoutMk cId="2879265444" sldId="2147483817"/>
          </pc:sldLayoutMkLst>
        </pc:sldLayoutChg>
        <pc:sldLayoutChg chg="addSp delSp modSp mod delAnim">
          <pc:chgData name="Bernardo Lares" userId="c0b75bcc-c53b-4925-b19e-54b7afc94e15" providerId="ADAL" clId="{6E66F923-8F06-4A9C-8933-890757EFA546}" dt="2024-10-16T10:09:58.016" v="630" actId="14100"/>
          <pc:sldLayoutMkLst>
            <pc:docMk/>
            <pc:sldMasterMk cId="3442277182" sldId="2147483788"/>
            <pc:sldLayoutMk cId="2050527937" sldId="2147483818"/>
          </pc:sldLayoutMkLst>
          <pc:spChg chg="add mod">
            <ac:chgData name="Bernardo Lares" userId="c0b75bcc-c53b-4925-b19e-54b7afc94e15" providerId="ADAL" clId="{6E66F923-8F06-4A9C-8933-890757EFA546}" dt="2024-10-16T09:22:37.797" v="131" actId="1036"/>
            <ac:spMkLst>
              <pc:docMk/>
              <pc:sldMasterMk cId="3442277182" sldId="2147483788"/>
              <pc:sldLayoutMk cId="2050527937" sldId="2147483818"/>
              <ac:spMk id="3" creationId="{41FADAAE-0FC8-F77B-BA63-6AA824277CF0}"/>
            </ac:spMkLst>
          </pc:spChg>
          <pc:spChg chg="mod">
            <ac:chgData name="Bernardo Lares" userId="c0b75bcc-c53b-4925-b19e-54b7afc94e15" providerId="ADAL" clId="{6E66F923-8F06-4A9C-8933-890757EFA546}" dt="2024-10-16T09:22:37.797" v="131" actId="1036"/>
            <ac:spMkLst>
              <pc:docMk/>
              <pc:sldMasterMk cId="3442277182" sldId="2147483788"/>
              <pc:sldLayoutMk cId="2050527937" sldId="2147483818"/>
              <ac:spMk id="10" creationId="{30542CAE-C108-5997-EE98-2C9412642EC9}"/>
            </ac:spMkLst>
          </pc:spChg>
          <pc:spChg chg="mod">
            <ac:chgData name="Bernardo Lares" userId="c0b75bcc-c53b-4925-b19e-54b7afc94e15" providerId="ADAL" clId="{6E66F923-8F06-4A9C-8933-890757EFA546}" dt="2024-10-16T10:09:58.016" v="630" actId="14100"/>
            <ac:spMkLst>
              <pc:docMk/>
              <pc:sldMasterMk cId="3442277182" sldId="2147483788"/>
              <pc:sldLayoutMk cId="2050527937" sldId="2147483818"/>
              <ac:spMk id="11" creationId="{6737A9C3-3B89-924F-D4C3-2D7C939556D4}"/>
            </ac:spMkLst>
          </pc:spChg>
          <pc:spChg chg="mod">
            <ac:chgData name="Bernardo Lares" userId="c0b75bcc-c53b-4925-b19e-54b7afc94e15" providerId="ADAL" clId="{6E66F923-8F06-4A9C-8933-890757EFA546}" dt="2024-10-16T09:22:37.797" v="131" actId="1036"/>
            <ac:spMkLst>
              <pc:docMk/>
              <pc:sldMasterMk cId="3442277182" sldId="2147483788"/>
              <pc:sldLayoutMk cId="2050527937" sldId="2147483818"/>
              <ac:spMk id="13" creationId="{A8D1C4FF-9441-23F1-9C93-B8E4BCC0F5C2}"/>
            </ac:spMkLst>
          </pc:spChg>
          <pc:spChg chg="mod">
            <ac:chgData name="Bernardo Lares" userId="c0b75bcc-c53b-4925-b19e-54b7afc94e15" providerId="ADAL" clId="{6E66F923-8F06-4A9C-8933-890757EFA546}" dt="2024-10-16T09:22:37.797" v="131" actId="1036"/>
            <ac:spMkLst>
              <pc:docMk/>
              <pc:sldMasterMk cId="3442277182" sldId="2147483788"/>
              <pc:sldLayoutMk cId="2050527937" sldId="2147483818"/>
              <ac:spMk id="14" creationId="{5679F10E-203A-9680-1252-6081D89AAFC8}"/>
            </ac:spMkLst>
          </pc:spChg>
          <pc:spChg chg="mod">
            <ac:chgData name="Bernardo Lares" userId="c0b75bcc-c53b-4925-b19e-54b7afc94e15" providerId="ADAL" clId="{6E66F923-8F06-4A9C-8933-890757EFA546}" dt="2024-10-16T09:22:37.797" v="131" actId="1036"/>
            <ac:spMkLst>
              <pc:docMk/>
              <pc:sldMasterMk cId="3442277182" sldId="2147483788"/>
              <pc:sldLayoutMk cId="2050527937" sldId="2147483818"/>
              <ac:spMk id="15" creationId="{34A8295A-BEA1-C944-7793-89B9BF180E43}"/>
            </ac:spMkLst>
          </pc:spChg>
          <pc:spChg chg="mod">
            <ac:chgData name="Bernardo Lares" userId="c0b75bcc-c53b-4925-b19e-54b7afc94e15" providerId="ADAL" clId="{6E66F923-8F06-4A9C-8933-890757EFA546}" dt="2024-10-16T10:09:53.339" v="628" actId="14100"/>
            <ac:spMkLst>
              <pc:docMk/>
              <pc:sldMasterMk cId="3442277182" sldId="2147483788"/>
              <pc:sldLayoutMk cId="2050527937" sldId="2147483818"/>
              <ac:spMk id="16" creationId="{E84DF276-C9FA-22EF-0D12-D82FED3CD14A}"/>
            </ac:spMkLst>
          </pc:spChg>
          <pc:spChg chg="mod">
            <ac:chgData name="Bernardo Lares" userId="c0b75bcc-c53b-4925-b19e-54b7afc94e15" providerId="ADAL" clId="{6E66F923-8F06-4A9C-8933-890757EFA546}" dt="2024-10-16T10:09:50.250" v="627" actId="14100"/>
            <ac:spMkLst>
              <pc:docMk/>
              <pc:sldMasterMk cId="3442277182" sldId="2147483788"/>
              <pc:sldLayoutMk cId="2050527937" sldId="2147483818"/>
              <ac:spMk id="17" creationId="{4023477D-ABEF-8B6C-655F-49C889BFE9A7}"/>
            </ac:spMkLst>
          </pc:spChg>
          <pc:spChg chg="mod">
            <ac:chgData name="Bernardo Lares" userId="c0b75bcc-c53b-4925-b19e-54b7afc94e15" providerId="ADAL" clId="{6E66F923-8F06-4A9C-8933-890757EFA546}" dt="2024-10-16T10:09:55.644" v="629" actId="14100"/>
            <ac:spMkLst>
              <pc:docMk/>
              <pc:sldMasterMk cId="3442277182" sldId="2147483788"/>
              <pc:sldLayoutMk cId="2050527937" sldId="2147483818"/>
              <ac:spMk id="18" creationId="{F66854FF-B88E-120A-65CF-BF7F2B3BD41B}"/>
            </ac:spMkLst>
          </pc:spChg>
          <pc:spChg chg="mod">
            <ac:chgData name="Bernardo Lares" userId="c0b75bcc-c53b-4925-b19e-54b7afc94e15" providerId="ADAL" clId="{6E66F923-8F06-4A9C-8933-890757EFA546}" dt="2024-10-16T09:22:37.797" v="131" actId="1036"/>
            <ac:spMkLst>
              <pc:docMk/>
              <pc:sldMasterMk cId="3442277182" sldId="2147483788"/>
              <pc:sldLayoutMk cId="2050527937" sldId="2147483818"/>
              <ac:spMk id="19" creationId="{7E26DBB3-2362-4694-2684-60A7139FD161}"/>
            </ac:spMkLst>
          </pc:spChg>
          <pc:spChg chg="mod">
            <ac:chgData name="Bernardo Lares" userId="c0b75bcc-c53b-4925-b19e-54b7afc94e15" providerId="ADAL" clId="{6E66F923-8F06-4A9C-8933-890757EFA546}" dt="2024-10-16T09:22:37.797" v="131" actId="1036"/>
            <ac:spMkLst>
              <pc:docMk/>
              <pc:sldMasterMk cId="3442277182" sldId="2147483788"/>
              <pc:sldLayoutMk cId="2050527937" sldId="2147483818"/>
              <ac:spMk id="20" creationId="{D3D3E016-9E7F-1BD4-F9D1-4C6C89C70224}"/>
            </ac:spMkLst>
          </pc:spChg>
          <pc:spChg chg="mod">
            <ac:chgData name="Bernardo Lares" userId="c0b75bcc-c53b-4925-b19e-54b7afc94e15" providerId="ADAL" clId="{6E66F923-8F06-4A9C-8933-890757EFA546}" dt="2024-10-16T09:22:37.797" v="131" actId="1036"/>
            <ac:spMkLst>
              <pc:docMk/>
              <pc:sldMasterMk cId="3442277182" sldId="2147483788"/>
              <pc:sldLayoutMk cId="2050527937" sldId="2147483818"/>
              <ac:spMk id="21" creationId="{774212F8-FB4A-0614-90EA-4549FA65D8CB}"/>
            </ac:spMkLst>
          </pc:spChg>
          <pc:spChg chg="mod">
            <ac:chgData name="Bernardo Lares" userId="c0b75bcc-c53b-4925-b19e-54b7afc94e15" providerId="ADAL" clId="{6E66F923-8F06-4A9C-8933-890757EFA546}" dt="2024-10-16T09:22:37.797" v="131" actId="1036"/>
            <ac:spMkLst>
              <pc:docMk/>
              <pc:sldMasterMk cId="3442277182" sldId="2147483788"/>
              <pc:sldLayoutMk cId="2050527937" sldId="2147483818"/>
              <ac:spMk id="22" creationId="{713A5AE3-AE2E-605A-5F8B-3C95F0F63146}"/>
            </ac:spMkLst>
          </pc:spChg>
          <pc:spChg chg="mod">
            <ac:chgData name="Bernardo Lares" userId="c0b75bcc-c53b-4925-b19e-54b7afc94e15" providerId="ADAL" clId="{6E66F923-8F06-4A9C-8933-890757EFA546}" dt="2024-10-16T10:08:23.386" v="612" actId="164"/>
            <ac:spMkLst>
              <pc:docMk/>
              <pc:sldMasterMk cId="3442277182" sldId="2147483788"/>
              <pc:sldLayoutMk cId="2050527937" sldId="2147483818"/>
              <ac:spMk id="24" creationId="{887F1F8E-AE85-4502-65BF-F703C08ADC7E}"/>
            </ac:spMkLst>
          </pc:spChg>
          <pc:spChg chg="mod">
            <ac:chgData name="Bernardo Lares" userId="c0b75bcc-c53b-4925-b19e-54b7afc94e15" providerId="ADAL" clId="{6E66F923-8F06-4A9C-8933-890757EFA546}" dt="2024-10-16T10:08:31.084" v="613" actId="164"/>
            <ac:spMkLst>
              <pc:docMk/>
              <pc:sldMasterMk cId="3442277182" sldId="2147483788"/>
              <pc:sldLayoutMk cId="2050527937" sldId="2147483818"/>
              <ac:spMk id="25" creationId="{F5CF6485-8342-5ADC-1F0D-6B4B2CDD3F66}"/>
            </ac:spMkLst>
          </pc:spChg>
          <pc:spChg chg="mod">
            <ac:chgData name="Bernardo Lares" userId="c0b75bcc-c53b-4925-b19e-54b7afc94e15" providerId="ADAL" clId="{6E66F923-8F06-4A9C-8933-890757EFA546}" dt="2024-10-16T10:08:36.089" v="614" actId="164"/>
            <ac:spMkLst>
              <pc:docMk/>
              <pc:sldMasterMk cId="3442277182" sldId="2147483788"/>
              <pc:sldLayoutMk cId="2050527937" sldId="2147483818"/>
              <ac:spMk id="26" creationId="{D0434839-5CDD-6805-E929-E5B88577D1A6}"/>
            </ac:spMkLst>
          </pc:spChg>
          <pc:spChg chg="mod">
            <ac:chgData name="Bernardo Lares" userId="c0b75bcc-c53b-4925-b19e-54b7afc94e15" providerId="ADAL" clId="{6E66F923-8F06-4A9C-8933-890757EFA546}" dt="2024-10-16T10:09:43.094" v="626" actId="14100"/>
            <ac:spMkLst>
              <pc:docMk/>
              <pc:sldMasterMk cId="3442277182" sldId="2147483788"/>
              <pc:sldLayoutMk cId="2050527937" sldId="2147483818"/>
              <ac:spMk id="27" creationId="{693F869E-224D-1F9F-F9AD-2E4A121A14DF}"/>
            </ac:spMkLst>
          </pc:spChg>
          <pc:spChg chg="mod">
            <ac:chgData name="Bernardo Lares" userId="c0b75bcc-c53b-4925-b19e-54b7afc94e15" providerId="ADAL" clId="{6E66F923-8F06-4A9C-8933-890757EFA546}" dt="2024-10-16T10:09:43.094" v="626" actId="14100"/>
            <ac:spMkLst>
              <pc:docMk/>
              <pc:sldMasterMk cId="3442277182" sldId="2147483788"/>
              <pc:sldLayoutMk cId="2050527937" sldId="2147483818"/>
              <ac:spMk id="28" creationId="{7C34DB49-49BF-46E4-FF57-5DE564F277C7}"/>
            </ac:spMkLst>
          </pc:spChg>
          <pc:spChg chg="mod">
            <ac:chgData name="Bernardo Lares" userId="c0b75bcc-c53b-4925-b19e-54b7afc94e15" providerId="ADAL" clId="{6E66F923-8F06-4A9C-8933-890757EFA546}" dt="2024-10-16T10:09:43.094" v="626" actId="14100"/>
            <ac:spMkLst>
              <pc:docMk/>
              <pc:sldMasterMk cId="3442277182" sldId="2147483788"/>
              <pc:sldLayoutMk cId="2050527937" sldId="2147483818"/>
              <ac:spMk id="29" creationId="{89AB9FC4-5A2C-F486-1742-B3D35CA1BCA6}"/>
            </ac:spMkLst>
          </pc:spChg>
          <pc:spChg chg="mod">
            <ac:chgData name="Bernardo Lares" userId="c0b75bcc-c53b-4925-b19e-54b7afc94e15" providerId="ADAL" clId="{6E66F923-8F06-4A9C-8933-890757EFA546}" dt="2024-10-16T10:07:26.891" v="606" actId="1035"/>
            <ac:spMkLst>
              <pc:docMk/>
              <pc:sldMasterMk cId="3442277182" sldId="2147483788"/>
              <pc:sldLayoutMk cId="2050527937" sldId="2147483818"/>
              <ac:spMk id="30" creationId="{C62DF908-1D66-C5FB-5076-D9DE5CEC34EB}"/>
            </ac:spMkLst>
          </pc:spChg>
          <pc:spChg chg="mod">
            <ac:chgData name="Bernardo Lares" userId="c0b75bcc-c53b-4925-b19e-54b7afc94e15" providerId="ADAL" clId="{6E66F923-8F06-4A9C-8933-890757EFA546}" dt="2024-10-16T10:07:26.891" v="606" actId="1035"/>
            <ac:spMkLst>
              <pc:docMk/>
              <pc:sldMasterMk cId="3442277182" sldId="2147483788"/>
              <pc:sldLayoutMk cId="2050527937" sldId="2147483818"/>
              <ac:spMk id="31" creationId="{D815585C-8028-0CD7-D52B-3AD1A0D9310A}"/>
            </ac:spMkLst>
          </pc:spChg>
          <pc:spChg chg="mod">
            <ac:chgData name="Bernardo Lares" userId="c0b75bcc-c53b-4925-b19e-54b7afc94e15" providerId="ADAL" clId="{6E66F923-8F06-4A9C-8933-890757EFA546}" dt="2024-10-16T10:07:26.891" v="606" actId="1035"/>
            <ac:spMkLst>
              <pc:docMk/>
              <pc:sldMasterMk cId="3442277182" sldId="2147483788"/>
              <pc:sldLayoutMk cId="2050527937" sldId="2147483818"/>
              <ac:spMk id="32" creationId="{E7AB00F1-926F-F6F2-861C-274FD34CDC57}"/>
            </ac:spMkLst>
          </pc:spChg>
          <pc:spChg chg="del mod">
            <ac:chgData name="Bernardo Lares" userId="c0b75bcc-c53b-4925-b19e-54b7afc94e15" providerId="ADAL" clId="{6E66F923-8F06-4A9C-8933-890757EFA546}" dt="2024-10-16T09:20:14.325" v="88" actId="478"/>
            <ac:spMkLst>
              <pc:docMk/>
              <pc:sldMasterMk cId="3442277182" sldId="2147483788"/>
              <pc:sldLayoutMk cId="2050527937" sldId="2147483818"/>
              <ac:spMk id="41" creationId="{B4AEF21C-275D-4D37-80C0-836AD8BC881D}"/>
            </ac:spMkLst>
          </pc:spChg>
          <pc:spChg chg="mod">
            <ac:chgData name="Bernardo Lares" userId="c0b75bcc-c53b-4925-b19e-54b7afc94e15" providerId="ADAL" clId="{6E66F923-8F06-4A9C-8933-890757EFA546}" dt="2024-10-16T09:22:37.797" v="131" actId="1036"/>
            <ac:spMkLst>
              <pc:docMk/>
              <pc:sldMasterMk cId="3442277182" sldId="2147483788"/>
              <pc:sldLayoutMk cId="2050527937" sldId="2147483818"/>
              <ac:spMk id="42" creationId="{28C1EA55-F2E7-A74E-5C2A-8057922F99DA}"/>
            </ac:spMkLst>
          </pc:spChg>
          <pc:spChg chg="mod">
            <ac:chgData name="Bernardo Lares" userId="c0b75bcc-c53b-4925-b19e-54b7afc94e15" providerId="ADAL" clId="{6E66F923-8F06-4A9C-8933-890757EFA546}" dt="2024-10-16T09:22:37.797" v="131" actId="1036"/>
            <ac:spMkLst>
              <pc:docMk/>
              <pc:sldMasterMk cId="3442277182" sldId="2147483788"/>
              <pc:sldLayoutMk cId="2050527937" sldId="2147483818"/>
              <ac:spMk id="43" creationId="{B4BACFB0-7A29-0210-C430-3B0E35F4B518}"/>
            </ac:spMkLst>
          </pc:spChg>
          <pc:spChg chg="mod">
            <ac:chgData name="Bernardo Lares" userId="c0b75bcc-c53b-4925-b19e-54b7afc94e15" providerId="ADAL" clId="{6E66F923-8F06-4A9C-8933-890757EFA546}" dt="2024-10-16T09:22:20.007" v="126" actId="1036"/>
            <ac:spMkLst>
              <pc:docMk/>
              <pc:sldMasterMk cId="3442277182" sldId="2147483788"/>
              <pc:sldLayoutMk cId="2050527937" sldId="2147483818"/>
              <ac:spMk id="50" creationId="{A5A22E4E-5EF3-7784-F569-A25DDBBF7DCA}"/>
            </ac:spMkLst>
          </pc:spChg>
          <pc:spChg chg="mod">
            <ac:chgData name="Bernardo Lares" userId="c0b75bcc-c53b-4925-b19e-54b7afc94e15" providerId="ADAL" clId="{6E66F923-8F06-4A9C-8933-890757EFA546}" dt="2024-10-16T09:22:20.007" v="126" actId="1036"/>
            <ac:spMkLst>
              <pc:docMk/>
              <pc:sldMasterMk cId="3442277182" sldId="2147483788"/>
              <pc:sldLayoutMk cId="2050527937" sldId="2147483818"/>
              <ac:spMk id="51" creationId="{2D356860-BEDC-D2CE-854F-9992C3330CC5}"/>
            </ac:spMkLst>
          </pc:spChg>
          <pc:spChg chg="del mod">
            <ac:chgData name="Bernardo Lares" userId="c0b75bcc-c53b-4925-b19e-54b7afc94e15" providerId="ADAL" clId="{6E66F923-8F06-4A9C-8933-890757EFA546}" dt="2024-10-16T09:20:10.963" v="87" actId="478"/>
            <ac:spMkLst>
              <pc:docMk/>
              <pc:sldMasterMk cId="3442277182" sldId="2147483788"/>
              <pc:sldLayoutMk cId="2050527937" sldId="2147483818"/>
              <ac:spMk id="53" creationId="{4DA63B55-C220-B7FA-53C9-E11303F1190E}"/>
            </ac:spMkLst>
          </pc:spChg>
          <pc:grpChg chg="add mod">
            <ac:chgData name="Bernardo Lares" userId="c0b75bcc-c53b-4925-b19e-54b7afc94e15" providerId="ADAL" clId="{6E66F923-8F06-4A9C-8933-890757EFA546}" dt="2024-10-16T10:09:22.373" v="623" actId="1076"/>
            <ac:grpSpMkLst>
              <pc:docMk/>
              <pc:sldMasterMk cId="3442277182" sldId="2147483788"/>
              <pc:sldLayoutMk cId="2050527937" sldId="2147483818"/>
              <ac:grpSpMk id="6" creationId="{E339DAF1-F053-A5EF-DF9A-B4AAB5F715E6}"/>
            </ac:grpSpMkLst>
          </pc:grpChg>
          <pc:grpChg chg="add mod">
            <ac:chgData name="Bernardo Lares" userId="c0b75bcc-c53b-4925-b19e-54b7afc94e15" providerId="ADAL" clId="{6E66F923-8F06-4A9C-8933-890757EFA546}" dt="2024-10-16T10:09:27.673" v="624" actId="1076"/>
            <ac:grpSpMkLst>
              <pc:docMk/>
              <pc:sldMasterMk cId="3442277182" sldId="2147483788"/>
              <pc:sldLayoutMk cId="2050527937" sldId="2147483818"/>
              <ac:grpSpMk id="7" creationId="{F1828999-28DE-37F4-840C-D38D428F215E}"/>
            </ac:grpSpMkLst>
          </pc:grpChg>
          <pc:grpChg chg="add mod">
            <ac:chgData name="Bernardo Lares" userId="c0b75bcc-c53b-4925-b19e-54b7afc94e15" providerId="ADAL" clId="{6E66F923-8F06-4A9C-8933-890757EFA546}" dt="2024-10-16T10:09:18.230" v="622" actId="1035"/>
            <ac:grpSpMkLst>
              <pc:docMk/>
              <pc:sldMasterMk cId="3442277182" sldId="2147483788"/>
              <pc:sldLayoutMk cId="2050527937" sldId="2147483818"/>
              <ac:grpSpMk id="23" creationId="{D45EB962-0386-5B9F-AC0C-494F87CA79AB}"/>
            </ac:grpSpMkLst>
          </pc:grpChg>
          <pc:picChg chg="mod">
            <ac:chgData name="Bernardo Lares" userId="c0b75bcc-c53b-4925-b19e-54b7afc94e15" providerId="ADAL" clId="{6E66F923-8F06-4A9C-8933-890757EFA546}" dt="2024-10-16T10:08:31.084" v="613" actId="164"/>
            <ac:picMkLst>
              <pc:docMk/>
              <pc:sldMasterMk cId="3442277182" sldId="2147483788"/>
              <pc:sldLayoutMk cId="2050527937" sldId="2147483818"/>
              <ac:picMk id="33" creationId="{73F9AE66-71EA-7BC7-D96E-0714663FFE52}"/>
            </ac:picMkLst>
          </pc:picChg>
          <pc:picChg chg="mod">
            <ac:chgData name="Bernardo Lares" userId="c0b75bcc-c53b-4925-b19e-54b7afc94e15" providerId="ADAL" clId="{6E66F923-8F06-4A9C-8933-890757EFA546}" dt="2024-10-16T10:08:23.386" v="612" actId="164"/>
            <ac:picMkLst>
              <pc:docMk/>
              <pc:sldMasterMk cId="3442277182" sldId="2147483788"/>
              <pc:sldLayoutMk cId="2050527937" sldId="2147483818"/>
              <ac:picMk id="34" creationId="{68376A21-5077-A36E-2D50-66EB14DD6D6B}"/>
            </ac:picMkLst>
          </pc:picChg>
          <pc:picChg chg="mod">
            <ac:chgData name="Bernardo Lares" userId="c0b75bcc-c53b-4925-b19e-54b7afc94e15" providerId="ADAL" clId="{6E66F923-8F06-4A9C-8933-890757EFA546}" dt="2024-10-16T10:08:36.089" v="614" actId="164"/>
            <ac:picMkLst>
              <pc:docMk/>
              <pc:sldMasterMk cId="3442277182" sldId="2147483788"/>
              <pc:sldLayoutMk cId="2050527937" sldId="2147483818"/>
              <ac:picMk id="35" creationId="{E002F006-80FD-2E58-DCB4-52FEFA3A2BD5}"/>
            </ac:picMkLst>
          </pc:picChg>
          <pc:picChg chg="mod">
            <ac:chgData name="Bernardo Lares" userId="c0b75bcc-c53b-4925-b19e-54b7afc94e15" providerId="ADAL" clId="{6E66F923-8F06-4A9C-8933-890757EFA546}" dt="2024-10-16T09:22:37.797" v="131" actId="1036"/>
            <ac:picMkLst>
              <pc:docMk/>
              <pc:sldMasterMk cId="3442277182" sldId="2147483788"/>
              <pc:sldLayoutMk cId="2050527937" sldId="2147483818"/>
              <ac:picMk id="36" creationId="{BFDC6136-5D4F-F76B-5644-00EC86BA3DA0}"/>
            </ac:picMkLst>
          </pc:picChg>
          <pc:picChg chg="mod">
            <ac:chgData name="Bernardo Lares" userId="c0b75bcc-c53b-4925-b19e-54b7afc94e15" providerId="ADAL" clId="{6E66F923-8F06-4A9C-8933-890757EFA546}" dt="2024-10-16T09:22:37.797" v="131" actId="1036"/>
            <ac:picMkLst>
              <pc:docMk/>
              <pc:sldMasterMk cId="3442277182" sldId="2147483788"/>
              <pc:sldLayoutMk cId="2050527937" sldId="2147483818"/>
              <ac:picMk id="37" creationId="{CEC24FD9-08C1-4C19-185A-583DE471E39C}"/>
            </ac:picMkLst>
          </pc:picChg>
          <pc:picChg chg="mod">
            <ac:chgData name="Bernardo Lares" userId="c0b75bcc-c53b-4925-b19e-54b7afc94e15" providerId="ADAL" clId="{6E66F923-8F06-4A9C-8933-890757EFA546}" dt="2024-10-16T09:22:37.797" v="131" actId="1036"/>
            <ac:picMkLst>
              <pc:docMk/>
              <pc:sldMasterMk cId="3442277182" sldId="2147483788"/>
              <pc:sldLayoutMk cId="2050527937" sldId="2147483818"/>
              <ac:picMk id="38" creationId="{C22AF21B-1DE3-5C3D-81F7-CF1311049F19}"/>
            </ac:picMkLst>
          </pc:picChg>
          <pc:picChg chg="mod">
            <ac:chgData name="Bernardo Lares" userId="c0b75bcc-c53b-4925-b19e-54b7afc94e15" providerId="ADAL" clId="{6E66F923-8F06-4A9C-8933-890757EFA546}" dt="2024-10-16T09:22:37.797" v="131" actId="1036"/>
            <ac:picMkLst>
              <pc:docMk/>
              <pc:sldMasterMk cId="3442277182" sldId="2147483788"/>
              <pc:sldLayoutMk cId="2050527937" sldId="2147483818"/>
              <ac:picMk id="39" creationId="{60D2271D-0BA9-93D2-C4EE-2F409B5E79CE}"/>
            </ac:picMkLst>
          </pc:picChg>
        </pc:sldLayoutChg>
        <pc:sldLayoutChg chg="addSp delSp modSp mod addAnim delAnim modAnim">
          <pc:chgData name="Bernardo Lares" userId="c0b75bcc-c53b-4925-b19e-54b7afc94e15" providerId="ADAL" clId="{6E66F923-8F06-4A9C-8933-890757EFA546}" dt="2024-10-24T14:31:26.802" v="5027" actId="14100"/>
          <pc:sldLayoutMkLst>
            <pc:docMk/>
            <pc:sldMasterMk cId="3442277182" sldId="2147483788"/>
            <pc:sldLayoutMk cId="4135425300" sldId="2147483819"/>
          </pc:sldLayoutMkLst>
          <pc:spChg chg="mod ord">
            <ac:chgData name="Bernardo Lares" userId="c0b75bcc-c53b-4925-b19e-54b7afc94e15" providerId="ADAL" clId="{6E66F923-8F06-4A9C-8933-890757EFA546}" dt="2024-10-16T09:32:36.815" v="184"/>
            <ac:spMkLst>
              <pc:docMk/>
              <pc:sldMasterMk cId="3442277182" sldId="2147483788"/>
              <pc:sldLayoutMk cId="4135425300" sldId="2147483819"/>
              <ac:spMk id="2" creationId="{BB627EE7-29BC-7E7B-5DF4-1D96E07AD3F9}"/>
            </ac:spMkLst>
          </pc:spChg>
          <pc:spChg chg="mod ord">
            <ac:chgData name="Bernardo Lares" userId="c0b75bcc-c53b-4925-b19e-54b7afc94e15" providerId="ADAL" clId="{6E66F923-8F06-4A9C-8933-890757EFA546}" dt="2024-10-16T09:32:36.810" v="170"/>
            <ac:spMkLst>
              <pc:docMk/>
              <pc:sldMasterMk cId="3442277182" sldId="2147483788"/>
              <pc:sldLayoutMk cId="4135425300" sldId="2147483819"/>
              <ac:spMk id="3" creationId="{62E57A6D-CCB0-DF2D-0D9A-6184CE396941}"/>
            </ac:spMkLst>
          </pc:spChg>
          <pc:spChg chg="mod ord">
            <ac:chgData name="Bernardo Lares" userId="c0b75bcc-c53b-4925-b19e-54b7afc94e15" providerId="ADAL" clId="{6E66F923-8F06-4A9C-8933-890757EFA546}" dt="2024-10-16T09:32:36.811" v="172"/>
            <ac:spMkLst>
              <pc:docMk/>
              <pc:sldMasterMk cId="3442277182" sldId="2147483788"/>
              <pc:sldLayoutMk cId="4135425300" sldId="2147483819"/>
              <ac:spMk id="4" creationId="{FC42BDB7-A7FE-AA4E-3952-EBCCAC237C98}"/>
            </ac:spMkLst>
          </pc:spChg>
          <pc:spChg chg="mod ord">
            <ac:chgData name="Bernardo Lares" userId="c0b75bcc-c53b-4925-b19e-54b7afc94e15" providerId="ADAL" clId="{6E66F923-8F06-4A9C-8933-890757EFA546}" dt="2024-10-16T09:32:36.811" v="174"/>
            <ac:spMkLst>
              <pc:docMk/>
              <pc:sldMasterMk cId="3442277182" sldId="2147483788"/>
              <pc:sldLayoutMk cId="4135425300" sldId="2147483819"/>
              <ac:spMk id="5" creationId="{676D6505-B9A2-3A36-B9B6-3E3CF07A64AF}"/>
            </ac:spMkLst>
          </pc:spChg>
          <pc:spChg chg="add del mod">
            <ac:chgData name="Bernardo Lares" userId="c0b75bcc-c53b-4925-b19e-54b7afc94e15" providerId="ADAL" clId="{6E66F923-8F06-4A9C-8933-890757EFA546}" dt="2024-10-16T09:23:24.204" v="135" actId="21"/>
            <ac:spMkLst>
              <pc:docMk/>
              <pc:sldMasterMk cId="3442277182" sldId="2147483788"/>
              <pc:sldLayoutMk cId="4135425300" sldId="2147483819"/>
              <ac:spMk id="6" creationId="{D56A1FA5-921D-8299-14A6-613F556A5E24}"/>
            </ac:spMkLst>
          </pc:spChg>
          <pc:spChg chg="mod ord">
            <ac:chgData name="Bernardo Lares" userId="c0b75bcc-c53b-4925-b19e-54b7afc94e15" providerId="ADAL" clId="{6E66F923-8F06-4A9C-8933-890757EFA546}" dt="2024-10-16T09:32:36.812" v="176"/>
            <ac:spMkLst>
              <pc:docMk/>
              <pc:sldMasterMk cId="3442277182" sldId="2147483788"/>
              <pc:sldLayoutMk cId="4135425300" sldId="2147483819"/>
              <ac:spMk id="7" creationId="{4B3924AB-56D4-343D-306B-195A924E9EF9}"/>
            </ac:spMkLst>
          </pc:spChg>
          <pc:spChg chg="mod ord">
            <ac:chgData name="Bernardo Lares" userId="c0b75bcc-c53b-4925-b19e-54b7afc94e15" providerId="ADAL" clId="{6E66F923-8F06-4A9C-8933-890757EFA546}" dt="2024-10-16T09:32:36.813" v="178"/>
            <ac:spMkLst>
              <pc:docMk/>
              <pc:sldMasterMk cId="3442277182" sldId="2147483788"/>
              <pc:sldLayoutMk cId="4135425300" sldId="2147483819"/>
              <ac:spMk id="8" creationId="{3484351E-5906-1465-ED52-DA75D3630DE8}"/>
            </ac:spMkLst>
          </pc:spChg>
          <pc:spChg chg="mod ord">
            <ac:chgData name="Bernardo Lares" userId="c0b75bcc-c53b-4925-b19e-54b7afc94e15" providerId="ADAL" clId="{6E66F923-8F06-4A9C-8933-890757EFA546}" dt="2024-10-16T09:32:36.814" v="180"/>
            <ac:spMkLst>
              <pc:docMk/>
              <pc:sldMasterMk cId="3442277182" sldId="2147483788"/>
              <pc:sldLayoutMk cId="4135425300" sldId="2147483819"/>
              <ac:spMk id="9" creationId="{62BDBB70-10FD-DDED-C062-9AA92765646E}"/>
            </ac:spMkLst>
          </pc:spChg>
          <pc:spChg chg="mod ord">
            <ac:chgData name="Bernardo Lares" userId="c0b75bcc-c53b-4925-b19e-54b7afc94e15" providerId="ADAL" clId="{6E66F923-8F06-4A9C-8933-890757EFA546}" dt="2024-10-16T09:32:36.816" v="186"/>
            <ac:spMkLst>
              <pc:docMk/>
              <pc:sldMasterMk cId="3442277182" sldId="2147483788"/>
              <pc:sldLayoutMk cId="4135425300" sldId="2147483819"/>
              <ac:spMk id="10" creationId="{E7FB71F7-C458-6271-4659-9B6ACDE19058}"/>
            </ac:spMkLst>
          </pc:spChg>
          <pc:spChg chg="mod ord">
            <ac:chgData name="Bernardo Lares" userId="c0b75bcc-c53b-4925-b19e-54b7afc94e15" providerId="ADAL" clId="{6E66F923-8F06-4A9C-8933-890757EFA546}" dt="2024-10-16T09:32:36.817" v="188"/>
            <ac:spMkLst>
              <pc:docMk/>
              <pc:sldMasterMk cId="3442277182" sldId="2147483788"/>
              <pc:sldLayoutMk cId="4135425300" sldId="2147483819"/>
              <ac:spMk id="11" creationId="{6FDDE279-74BB-595A-A5E4-AD31C88507CE}"/>
            </ac:spMkLst>
          </pc:spChg>
          <pc:spChg chg="mod ord">
            <ac:chgData name="Bernardo Lares" userId="c0b75bcc-c53b-4925-b19e-54b7afc94e15" providerId="ADAL" clId="{6E66F923-8F06-4A9C-8933-890757EFA546}" dt="2024-10-16T09:32:36.814" v="182"/>
            <ac:spMkLst>
              <pc:docMk/>
              <pc:sldMasterMk cId="3442277182" sldId="2147483788"/>
              <pc:sldLayoutMk cId="4135425300" sldId="2147483819"/>
              <ac:spMk id="12" creationId="{8DBDFC7D-EB75-1C71-FBB6-74679DF5FB23}"/>
            </ac:spMkLst>
          </pc:spChg>
          <pc:spChg chg="mod ord">
            <ac:chgData name="Bernardo Lares" userId="c0b75bcc-c53b-4925-b19e-54b7afc94e15" providerId="ADAL" clId="{6E66F923-8F06-4A9C-8933-890757EFA546}" dt="2024-10-16T09:32:36.818" v="190"/>
            <ac:spMkLst>
              <pc:docMk/>
              <pc:sldMasterMk cId="3442277182" sldId="2147483788"/>
              <pc:sldLayoutMk cId="4135425300" sldId="2147483819"/>
              <ac:spMk id="13" creationId="{E79373A2-1519-F9E9-8756-93134EF2A632}"/>
            </ac:spMkLst>
          </pc:spChg>
          <pc:spChg chg="mod ord">
            <ac:chgData name="Bernardo Lares" userId="c0b75bcc-c53b-4925-b19e-54b7afc94e15" providerId="ADAL" clId="{6E66F923-8F06-4A9C-8933-890757EFA546}" dt="2024-10-24T14:31:26.802" v="5027" actId="14100"/>
            <ac:spMkLst>
              <pc:docMk/>
              <pc:sldMasterMk cId="3442277182" sldId="2147483788"/>
              <pc:sldLayoutMk cId="4135425300" sldId="2147483819"/>
              <ac:spMk id="14" creationId="{6FBB274D-441A-6117-E7CD-AF3FBEB1014A}"/>
            </ac:spMkLst>
          </pc:spChg>
          <pc:spChg chg="del mod">
            <ac:chgData name="Bernardo Lares" userId="c0b75bcc-c53b-4925-b19e-54b7afc94e15" providerId="ADAL" clId="{6E66F923-8F06-4A9C-8933-890757EFA546}" dt="2024-10-16T09:23:41.098" v="139" actId="478"/>
            <ac:spMkLst>
              <pc:docMk/>
              <pc:sldMasterMk cId="3442277182" sldId="2147483788"/>
              <pc:sldLayoutMk cId="4135425300" sldId="2147483819"/>
              <ac:spMk id="15" creationId="{61C0B926-CFA5-962B-0F32-A8093527FE45}"/>
            </ac:spMkLst>
          </pc:spChg>
          <pc:spChg chg="add mod ord">
            <ac:chgData name="Bernardo Lares" userId="c0b75bcc-c53b-4925-b19e-54b7afc94e15" providerId="ADAL" clId="{6E66F923-8F06-4A9C-8933-890757EFA546}" dt="2024-10-16T09:32:36.823" v="204"/>
            <ac:spMkLst>
              <pc:docMk/>
              <pc:sldMasterMk cId="3442277182" sldId="2147483788"/>
              <pc:sldLayoutMk cId="4135425300" sldId="2147483819"/>
              <ac:spMk id="16" creationId="{D56A1FA5-921D-8299-14A6-613F556A5E24}"/>
            </ac:spMkLst>
          </pc:spChg>
          <pc:spChg chg="mod ord">
            <ac:chgData name="Bernardo Lares" userId="c0b75bcc-c53b-4925-b19e-54b7afc94e15" providerId="ADAL" clId="{6E66F923-8F06-4A9C-8933-890757EFA546}" dt="2024-10-16T09:32:36.819" v="194"/>
            <ac:spMkLst>
              <pc:docMk/>
              <pc:sldMasterMk cId="3442277182" sldId="2147483788"/>
              <pc:sldLayoutMk cId="4135425300" sldId="2147483819"/>
              <ac:spMk id="17" creationId="{9DCB2C8E-72AD-6D0C-5E71-F3F2B69CA75D}"/>
            </ac:spMkLst>
          </pc:spChg>
          <pc:spChg chg="mod ord">
            <ac:chgData name="Bernardo Lares" userId="c0b75bcc-c53b-4925-b19e-54b7afc94e15" providerId="ADAL" clId="{6E66F923-8F06-4A9C-8933-890757EFA546}" dt="2024-10-16T09:32:36.820" v="196"/>
            <ac:spMkLst>
              <pc:docMk/>
              <pc:sldMasterMk cId="3442277182" sldId="2147483788"/>
              <pc:sldLayoutMk cId="4135425300" sldId="2147483819"/>
              <ac:spMk id="18" creationId="{44147D5A-077C-A883-4DBE-42E95A5FBB7D}"/>
            </ac:spMkLst>
          </pc:spChg>
          <pc:spChg chg="mod ord">
            <ac:chgData name="Bernardo Lares" userId="c0b75bcc-c53b-4925-b19e-54b7afc94e15" providerId="ADAL" clId="{6E66F923-8F06-4A9C-8933-890757EFA546}" dt="2024-10-24T14:31:23.117" v="5026" actId="1038"/>
            <ac:spMkLst>
              <pc:docMk/>
              <pc:sldMasterMk cId="3442277182" sldId="2147483788"/>
              <pc:sldLayoutMk cId="4135425300" sldId="2147483819"/>
              <ac:spMk id="19" creationId="{27565D8F-1E75-5025-E7B9-71D696E1D6C6}"/>
            </ac:spMkLst>
          </pc:spChg>
          <pc:spChg chg="del mod ord">
            <ac:chgData name="Bernardo Lares" userId="c0b75bcc-c53b-4925-b19e-54b7afc94e15" providerId="ADAL" clId="{6E66F923-8F06-4A9C-8933-890757EFA546}" dt="2024-10-16T09:33:08.379" v="232" actId="21"/>
            <ac:spMkLst>
              <pc:docMk/>
              <pc:sldMasterMk cId="3442277182" sldId="2147483788"/>
              <pc:sldLayoutMk cId="4135425300" sldId="2147483819"/>
              <ac:spMk id="20" creationId="{4134C1F1-A8E1-0784-8993-AB91C7A52EF0}"/>
            </ac:spMkLst>
          </pc:spChg>
          <pc:spChg chg="add mod ord">
            <ac:chgData name="Bernardo Lares" userId="c0b75bcc-c53b-4925-b19e-54b7afc94e15" providerId="ADAL" clId="{6E66F923-8F06-4A9C-8933-890757EFA546}" dt="2024-10-16T09:33:09.656" v="233" actId="20577"/>
            <ac:spMkLst>
              <pc:docMk/>
              <pc:sldMasterMk cId="3442277182" sldId="2147483788"/>
              <pc:sldLayoutMk cId="4135425300" sldId="2147483819"/>
              <ac:spMk id="21" creationId="{1F916AAF-BD81-5FB7-CEE9-743C14ACA8E1}"/>
            </ac:spMkLst>
          </pc:spChg>
          <pc:spChg chg="del mod ord">
            <ac:chgData name="Bernardo Lares" userId="c0b75bcc-c53b-4925-b19e-54b7afc94e15" providerId="ADAL" clId="{6E66F923-8F06-4A9C-8933-890757EFA546}" dt="2024-10-16T09:32:39.612" v="209" actId="478"/>
            <ac:spMkLst>
              <pc:docMk/>
              <pc:sldMasterMk cId="3442277182" sldId="2147483788"/>
              <pc:sldLayoutMk cId="4135425300" sldId="2147483819"/>
              <ac:spMk id="22" creationId="{998A1D13-ABD1-479D-7286-78DE8E867C09}"/>
            </ac:spMkLst>
          </pc:spChg>
          <pc:spChg chg="add mod ord">
            <ac:chgData name="Bernardo Lares" userId="c0b75bcc-c53b-4925-b19e-54b7afc94e15" providerId="ADAL" clId="{6E66F923-8F06-4A9C-8933-890757EFA546}" dt="2024-10-16T09:33:03.800" v="231" actId="20577"/>
            <ac:spMkLst>
              <pc:docMk/>
              <pc:sldMasterMk cId="3442277182" sldId="2147483788"/>
              <pc:sldLayoutMk cId="4135425300" sldId="2147483819"/>
              <ac:spMk id="23" creationId="{2E08D791-9EC4-87F3-0092-58553FBB2C17}"/>
            </ac:spMkLst>
          </pc:spChg>
          <pc:spChg chg="add del mod ord">
            <ac:chgData name="Bernardo Lares" userId="c0b75bcc-c53b-4925-b19e-54b7afc94e15" providerId="ADAL" clId="{6E66F923-8F06-4A9C-8933-890757EFA546}" dt="2024-10-16T09:32:58.910" v="214" actId="478"/>
            <ac:spMkLst>
              <pc:docMk/>
              <pc:sldMasterMk cId="3442277182" sldId="2147483788"/>
              <pc:sldLayoutMk cId="4135425300" sldId="2147483819"/>
              <ac:spMk id="25" creationId="{B750D162-A6FC-3A58-A9E6-924DBFC23D84}"/>
            </ac:spMkLst>
          </pc:spChg>
          <pc:spChg chg="add del mod modVis">
            <ac:chgData name="Bernardo Lares" userId="c0b75bcc-c53b-4925-b19e-54b7afc94e15" providerId="ADAL" clId="{6E66F923-8F06-4A9C-8933-890757EFA546}" dt="2024-10-16T09:32:36.824" v="206"/>
            <ac:spMkLst>
              <pc:docMk/>
              <pc:sldMasterMk cId="3442277182" sldId="2147483788"/>
              <pc:sldLayoutMk cId="4135425300" sldId="2147483819"/>
              <ac:spMk id="26" creationId="{43640B2D-382F-291B-9120-CEC4E5C066D5}"/>
            </ac:spMkLst>
          </pc:spChg>
          <pc:spChg chg="add mod">
            <ac:chgData name="Bernardo Lares" userId="c0b75bcc-c53b-4925-b19e-54b7afc94e15" providerId="ADAL" clId="{6E66F923-8F06-4A9C-8933-890757EFA546}" dt="2024-10-16T09:33:24.184" v="241" actId="1036"/>
            <ac:spMkLst>
              <pc:docMk/>
              <pc:sldMasterMk cId="3442277182" sldId="2147483788"/>
              <pc:sldLayoutMk cId="4135425300" sldId="2147483819"/>
              <ac:spMk id="27" creationId="{4134C1F1-A8E1-0784-8993-AB91C7A52EF0}"/>
            </ac:spMkLst>
          </pc:spChg>
          <pc:graphicFrameChg chg="mod">
            <ac:chgData name="Bernardo Lares" userId="c0b75bcc-c53b-4925-b19e-54b7afc94e15" providerId="ADAL" clId="{6E66F923-8F06-4A9C-8933-890757EFA546}" dt="2024-10-16T09:32:36.825" v="208"/>
            <ac:graphicFrameMkLst>
              <pc:docMk/>
              <pc:sldMasterMk cId="3442277182" sldId="2147483788"/>
              <pc:sldLayoutMk cId="4135425300" sldId="2147483819"/>
              <ac:graphicFrameMk id="24" creationId="{00D8C276-70E3-1124-D032-556F8DD36059}"/>
            </ac:graphicFrameMkLst>
          </pc:graphicFrameChg>
        </pc:sldLayoutChg>
        <pc:sldLayoutChg chg="delSp modSp mod">
          <pc:chgData name="Bernardo Lares" userId="c0b75bcc-c53b-4925-b19e-54b7afc94e15" providerId="ADAL" clId="{6E66F923-8F06-4A9C-8933-890757EFA546}" dt="2024-10-16T10:18:22.490" v="646" actId="14100"/>
          <pc:sldLayoutMkLst>
            <pc:docMk/>
            <pc:sldMasterMk cId="3442277182" sldId="2147483788"/>
            <pc:sldLayoutMk cId="3104797970" sldId="2147483820"/>
          </pc:sldLayoutMkLst>
          <pc:spChg chg="mod">
            <ac:chgData name="Bernardo Lares" userId="c0b75bcc-c53b-4925-b19e-54b7afc94e15" providerId="ADAL" clId="{6E66F923-8F06-4A9C-8933-890757EFA546}" dt="2024-10-16T10:18:22.490" v="646" actId="14100"/>
            <ac:spMkLst>
              <pc:docMk/>
              <pc:sldMasterMk cId="3442277182" sldId="2147483788"/>
              <pc:sldLayoutMk cId="3104797970" sldId="2147483820"/>
              <ac:spMk id="6" creationId="{419A6C63-D432-9A3E-CB96-F7EAA27D2A64}"/>
            </ac:spMkLst>
          </pc:spChg>
          <pc:spChg chg="del">
            <ac:chgData name="Bernardo Lares" userId="c0b75bcc-c53b-4925-b19e-54b7afc94e15" providerId="ADAL" clId="{6E66F923-8F06-4A9C-8933-890757EFA546}" dt="2024-10-16T10:18:17.509" v="645" actId="478"/>
            <ac:spMkLst>
              <pc:docMk/>
              <pc:sldMasterMk cId="3442277182" sldId="2147483788"/>
              <pc:sldLayoutMk cId="3104797970" sldId="2147483820"/>
              <ac:spMk id="10" creationId="{5A89E078-B97D-529E-FF83-DF5AD69D51F2}"/>
            </ac:spMkLst>
          </pc:spChg>
        </pc:sldLayoutChg>
        <pc:sldLayoutChg chg="ord">
          <pc:chgData name="Bernardo Lares" userId="c0b75bcc-c53b-4925-b19e-54b7afc94e15" providerId="ADAL" clId="{6E66F923-8F06-4A9C-8933-890757EFA546}" dt="2024-10-16T10:17:40.360" v="639" actId="20578"/>
          <pc:sldLayoutMkLst>
            <pc:docMk/>
            <pc:sldMasterMk cId="3442277182" sldId="2147483788"/>
            <pc:sldLayoutMk cId="2175404669" sldId="2147483821"/>
          </pc:sldLayoutMkLst>
        </pc:sldLayoutChg>
        <pc:sldLayoutChg chg="modSp mod">
          <pc:chgData name="Bernardo Lares" userId="c0b75bcc-c53b-4925-b19e-54b7afc94e15" providerId="ADAL" clId="{6E66F923-8F06-4A9C-8933-890757EFA546}" dt="2024-10-09T15:57:25.094" v="7" actId="14100"/>
          <pc:sldLayoutMkLst>
            <pc:docMk/>
            <pc:sldMasterMk cId="3442277182" sldId="2147483788"/>
            <pc:sldLayoutMk cId="56291790" sldId="2147483822"/>
          </pc:sldLayoutMkLst>
          <pc:spChg chg="mod">
            <ac:chgData name="Bernardo Lares" userId="c0b75bcc-c53b-4925-b19e-54b7afc94e15" providerId="ADAL" clId="{6E66F923-8F06-4A9C-8933-890757EFA546}" dt="2024-10-09T15:57:25.094" v="7" actId="14100"/>
            <ac:spMkLst>
              <pc:docMk/>
              <pc:sldMasterMk cId="3442277182" sldId="2147483788"/>
              <pc:sldLayoutMk cId="56291790" sldId="2147483822"/>
              <ac:spMk id="11" creationId="{B25B3DF6-C945-56A1-A6D2-AC4E6E31179A}"/>
            </ac:spMkLst>
          </pc:spChg>
          <pc:spChg chg="mod">
            <ac:chgData name="Bernardo Lares" userId="c0b75bcc-c53b-4925-b19e-54b7afc94e15" providerId="ADAL" clId="{6E66F923-8F06-4A9C-8933-890757EFA546}" dt="2024-10-09T15:56:55.014" v="3" actId="12"/>
            <ac:spMkLst>
              <pc:docMk/>
              <pc:sldMasterMk cId="3442277182" sldId="2147483788"/>
              <pc:sldLayoutMk cId="56291790" sldId="2147483822"/>
              <ac:spMk id="55" creationId="{54077D3A-2E14-68B6-5E16-413475F36C3A}"/>
            </ac:spMkLst>
          </pc:spChg>
          <pc:spChg chg="mod">
            <ac:chgData name="Bernardo Lares" userId="c0b75bcc-c53b-4925-b19e-54b7afc94e15" providerId="ADAL" clId="{6E66F923-8F06-4A9C-8933-890757EFA546}" dt="2024-10-09T15:57:13.816" v="5" actId="12"/>
            <ac:spMkLst>
              <pc:docMk/>
              <pc:sldMasterMk cId="3442277182" sldId="2147483788"/>
              <pc:sldLayoutMk cId="56291790" sldId="2147483822"/>
              <ac:spMk id="56" creationId="{5DE7D720-AF89-6DE4-D2E5-33C7B01B7E91}"/>
            </ac:spMkLst>
          </pc:spChg>
          <pc:spChg chg="mod">
            <ac:chgData name="Bernardo Lares" userId="c0b75bcc-c53b-4925-b19e-54b7afc94e15" providerId="ADAL" clId="{6E66F923-8F06-4A9C-8933-890757EFA546}" dt="2024-10-09T15:57:21.206" v="6" actId="14100"/>
            <ac:spMkLst>
              <pc:docMk/>
              <pc:sldMasterMk cId="3442277182" sldId="2147483788"/>
              <pc:sldLayoutMk cId="56291790" sldId="2147483822"/>
              <ac:spMk id="57" creationId="{8C53FB3B-975B-80D5-29B3-81DC27DCAC8F}"/>
            </ac:spMkLst>
          </pc:spChg>
        </pc:sldLayoutChg>
        <pc:sldLayoutChg chg="addSp delSp modSp mod delAnim">
          <pc:chgData name="Bernardo Lares" userId="c0b75bcc-c53b-4925-b19e-54b7afc94e15" providerId="ADAL" clId="{6E66F923-8F06-4A9C-8933-890757EFA546}" dt="2024-10-16T11:47:34.682" v="669" actId="962"/>
          <pc:sldLayoutMkLst>
            <pc:docMk/>
            <pc:sldMasterMk cId="3442277182" sldId="2147483788"/>
            <pc:sldLayoutMk cId="1460600895" sldId="2147483824"/>
          </pc:sldLayoutMkLst>
          <pc:spChg chg="del">
            <ac:chgData name="Bernardo Lares" userId="c0b75bcc-c53b-4925-b19e-54b7afc94e15" providerId="ADAL" clId="{6E66F923-8F06-4A9C-8933-890757EFA546}" dt="2024-10-16T09:33:56.469" v="245" actId="478"/>
            <ac:spMkLst>
              <pc:docMk/>
              <pc:sldMasterMk cId="3442277182" sldId="2147483788"/>
              <pc:sldLayoutMk cId="1460600895" sldId="2147483824"/>
              <ac:spMk id="3" creationId="{41FADAAE-0FC8-F77B-BA63-6AA824277CF0}"/>
            </ac:spMkLst>
          </pc:spChg>
          <pc:spChg chg="add del">
            <ac:chgData name="Bernardo Lares" userId="c0b75bcc-c53b-4925-b19e-54b7afc94e15" providerId="ADAL" clId="{6E66F923-8F06-4A9C-8933-890757EFA546}" dt="2024-10-16T10:19:01.628" v="647" actId="11529"/>
            <ac:spMkLst>
              <pc:docMk/>
              <pc:sldMasterMk cId="3442277182" sldId="2147483788"/>
              <pc:sldLayoutMk cId="1460600895" sldId="2147483824"/>
              <ac:spMk id="3" creationId="{8741C018-54AF-93AE-8B08-DF3CA992E945}"/>
            </ac:spMkLst>
          </pc:spChg>
          <pc:spChg chg="add mod">
            <ac:chgData name="Bernardo Lares" userId="c0b75bcc-c53b-4925-b19e-54b7afc94e15" providerId="ADAL" clId="{6E66F923-8F06-4A9C-8933-890757EFA546}" dt="2024-10-16T11:47:34.682" v="669" actId="962"/>
            <ac:spMkLst>
              <pc:docMk/>
              <pc:sldMasterMk cId="3442277182" sldId="2147483788"/>
              <pc:sldLayoutMk cId="1460600895" sldId="2147483824"/>
              <ac:spMk id="3" creationId="{BE98E592-9C55-57DA-9D2A-7AA25BD29319}"/>
            </ac:spMkLst>
          </pc:spChg>
          <pc:spChg chg="add mod">
            <ac:chgData name="Bernardo Lares" userId="c0b75bcc-c53b-4925-b19e-54b7afc94e15" providerId="ADAL" clId="{6E66F923-8F06-4A9C-8933-890757EFA546}" dt="2024-10-16T09:35:46.306" v="301" actId="14100"/>
            <ac:spMkLst>
              <pc:docMk/>
              <pc:sldMasterMk cId="3442277182" sldId="2147483788"/>
              <pc:sldLayoutMk cId="1460600895" sldId="2147483824"/>
              <ac:spMk id="6" creationId="{0C6CD4C1-82DD-8315-2C02-CC4A4D597C32}"/>
            </ac:spMkLst>
          </pc:spChg>
          <pc:spChg chg="add del mod">
            <ac:chgData name="Bernardo Lares" userId="c0b75bcc-c53b-4925-b19e-54b7afc94e15" providerId="ADAL" clId="{6E66F923-8F06-4A9C-8933-890757EFA546}" dt="2024-10-16T10:19:14.081" v="650" actId="21"/>
            <ac:spMkLst>
              <pc:docMk/>
              <pc:sldMasterMk cId="3442277182" sldId="2147483788"/>
              <pc:sldLayoutMk cId="1460600895" sldId="2147483824"/>
              <ac:spMk id="7" creationId="{215D08F8-CCA3-01F0-45DD-87B224C5D2D6}"/>
            </ac:spMkLst>
          </pc:spChg>
          <pc:spChg chg="add del mod">
            <ac:chgData name="Bernardo Lares" userId="c0b75bcc-c53b-4925-b19e-54b7afc94e15" providerId="ADAL" clId="{6E66F923-8F06-4A9C-8933-890757EFA546}" dt="2024-10-16T09:35:46.937" v="302" actId="478"/>
            <ac:spMkLst>
              <pc:docMk/>
              <pc:sldMasterMk cId="3442277182" sldId="2147483788"/>
              <pc:sldLayoutMk cId="1460600895" sldId="2147483824"/>
              <ac:spMk id="7" creationId="{281DD955-FDAD-E06A-F402-99E094074B0C}"/>
            </ac:spMkLst>
          </pc:spChg>
          <pc:spChg chg="mod">
            <ac:chgData name="Bernardo Lares" userId="c0b75bcc-c53b-4925-b19e-54b7afc94e15" providerId="ADAL" clId="{6E66F923-8F06-4A9C-8933-890757EFA546}" dt="2024-10-16T09:39:49.268" v="531" actId="948"/>
            <ac:spMkLst>
              <pc:docMk/>
              <pc:sldMasterMk cId="3442277182" sldId="2147483788"/>
              <pc:sldLayoutMk cId="1460600895" sldId="2147483824"/>
              <ac:spMk id="8" creationId="{3484351E-5906-1465-ED52-DA75D3630DE8}"/>
            </ac:spMkLst>
          </pc:spChg>
          <pc:spChg chg="mod">
            <ac:chgData name="Bernardo Lares" userId="c0b75bcc-c53b-4925-b19e-54b7afc94e15" providerId="ADAL" clId="{6E66F923-8F06-4A9C-8933-890757EFA546}" dt="2024-10-16T09:40:12.012" v="580" actId="20577"/>
            <ac:spMkLst>
              <pc:docMk/>
              <pc:sldMasterMk cId="3442277182" sldId="2147483788"/>
              <pc:sldLayoutMk cId="1460600895" sldId="2147483824"/>
              <ac:spMk id="9" creationId="{62BDBB70-10FD-DDED-C062-9AA92765646E}"/>
            </ac:spMkLst>
          </pc:spChg>
          <pc:spChg chg="add del mod">
            <ac:chgData name="Bernardo Lares" userId="c0b75bcc-c53b-4925-b19e-54b7afc94e15" providerId="ADAL" clId="{6E66F923-8F06-4A9C-8933-890757EFA546}" dt="2024-10-16T11:46:33.505" v="662" actId="478"/>
            <ac:spMkLst>
              <pc:docMk/>
              <pc:sldMasterMk cId="3442277182" sldId="2147483788"/>
              <pc:sldLayoutMk cId="1460600895" sldId="2147483824"/>
              <ac:spMk id="10" creationId="{215D08F8-CCA3-01F0-45DD-87B224C5D2D6}"/>
            </ac:spMkLst>
          </pc:spChg>
          <pc:spChg chg="del">
            <ac:chgData name="Bernardo Lares" userId="c0b75bcc-c53b-4925-b19e-54b7afc94e15" providerId="ADAL" clId="{6E66F923-8F06-4A9C-8933-890757EFA546}" dt="2024-10-16T09:34:06.621" v="248" actId="478"/>
            <ac:spMkLst>
              <pc:docMk/>
              <pc:sldMasterMk cId="3442277182" sldId="2147483788"/>
              <pc:sldLayoutMk cId="1460600895" sldId="2147483824"/>
              <ac:spMk id="10" creationId="{30542CAE-C108-5997-EE98-2C9412642EC9}"/>
            </ac:spMkLst>
          </pc:spChg>
          <pc:spChg chg="del">
            <ac:chgData name="Bernardo Lares" userId="c0b75bcc-c53b-4925-b19e-54b7afc94e15" providerId="ADAL" clId="{6E66F923-8F06-4A9C-8933-890757EFA546}" dt="2024-10-16T09:34:06.621" v="248" actId="478"/>
            <ac:spMkLst>
              <pc:docMk/>
              <pc:sldMasterMk cId="3442277182" sldId="2147483788"/>
              <pc:sldLayoutMk cId="1460600895" sldId="2147483824"/>
              <ac:spMk id="11" creationId="{6737A9C3-3B89-924F-D4C3-2D7C939556D4}"/>
            </ac:spMkLst>
          </pc:spChg>
          <pc:spChg chg="del">
            <ac:chgData name="Bernardo Lares" userId="c0b75bcc-c53b-4925-b19e-54b7afc94e15" providerId="ADAL" clId="{6E66F923-8F06-4A9C-8933-890757EFA546}" dt="2024-10-16T09:34:06.621" v="248" actId="478"/>
            <ac:spMkLst>
              <pc:docMk/>
              <pc:sldMasterMk cId="3442277182" sldId="2147483788"/>
              <pc:sldLayoutMk cId="1460600895" sldId="2147483824"/>
              <ac:spMk id="13" creationId="{A8D1C4FF-9441-23F1-9C93-B8E4BCC0F5C2}"/>
            </ac:spMkLst>
          </pc:spChg>
          <pc:spChg chg="del">
            <ac:chgData name="Bernardo Lares" userId="c0b75bcc-c53b-4925-b19e-54b7afc94e15" providerId="ADAL" clId="{6E66F923-8F06-4A9C-8933-890757EFA546}" dt="2024-10-16T09:34:06.621" v="248" actId="478"/>
            <ac:spMkLst>
              <pc:docMk/>
              <pc:sldMasterMk cId="3442277182" sldId="2147483788"/>
              <pc:sldLayoutMk cId="1460600895" sldId="2147483824"/>
              <ac:spMk id="14" creationId="{5679F10E-203A-9680-1252-6081D89AAFC8}"/>
            </ac:spMkLst>
          </pc:spChg>
          <pc:spChg chg="del">
            <ac:chgData name="Bernardo Lares" userId="c0b75bcc-c53b-4925-b19e-54b7afc94e15" providerId="ADAL" clId="{6E66F923-8F06-4A9C-8933-890757EFA546}" dt="2024-10-16T09:34:06.621" v="248" actId="478"/>
            <ac:spMkLst>
              <pc:docMk/>
              <pc:sldMasterMk cId="3442277182" sldId="2147483788"/>
              <pc:sldLayoutMk cId="1460600895" sldId="2147483824"/>
              <ac:spMk id="15" creationId="{34A8295A-BEA1-C944-7793-89B9BF180E43}"/>
            </ac:spMkLst>
          </pc:spChg>
          <pc:spChg chg="del">
            <ac:chgData name="Bernardo Lares" userId="c0b75bcc-c53b-4925-b19e-54b7afc94e15" providerId="ADAL" clId="{6E66F923-8F06-4A9C-8933-890757EFA546}" dt="2024-10-16T09:34:06.621" v="248" actId="478"/>
            <ac:spMkLst>
              <pc:docMk/>
              <pc:sldMasterMk cId="3442277182" sldId="2147483788"/>
              <pc:sldLayoutMk cId="1460600895" sldId="2147483824"/>
              <ac:spMk id="16" creationId="{E84DF276-C9FA-22EF-0D12-D82FED3CD14A}"/>
            </ac:spMkLst>
          </pc:spChg>
          <pc:spChg chg="del">
            <ac:chgData name="Bernardo Lares" userId="c0b75bcc-c53b-4925-b19e-54b7afc94e15" providerId="ADAL" clId="{6E66F923-8F06-4A9C-8933-890757EFA546}" dt="2024-10-16T09:34:06.621" v="248" actId="478"/>
            <ac:spMkLst>
              <pc:docMk/>
              <pc:sldMasterMk cId="3442277182" sldId="2147483788"/>
              <pc:sldLayoutMk cId="1460600895" sldId="2147483824"/>
              <ac:spMk id="17" creationId="{4023477D-ABEF-8B6C-655F-49C889BFE9A7}"/>
            </ac:spMkLst>
          </pc:spChg>
          <pc:spChg chg="del">
            <ac:chgData name="Bernardo Lares" userId="c0b75bcc-c53b-4925-b19e-54b7afc94e15" providerId="ADAL" clId="{6E66F923-8F06-4A9C-8933-890757EFA546}" dt="2024-10-16T09:34:06.621" v="248" actId="478"/>
            <ac:spMkLst>
              <pc:docMk/>
              <pc:sldMasterMk cId="3442277182" sldId="2147483788"/>
              <pc:sldLayoutMk cId="1460600895" sldId="2147483824"/>
              <ac:spMk id="18" creationId="{F66854FF-B88E-120A-65CF-BF7F2B3BD41B}"/>
            </ac:spMkLst>
          </pc:spChg>
          <pc:spChg chg="del">
            <ac:chgData name="Bernardo Lares" userId="c0b75bcc-c53b-4925-b19e-54b7afc94e15" providerId="ADAL" clId="{6E66F923-8F06-4A9C-8933-890757EFA546}" dt="2024-10-16T09:34:06.621" v="248" actId="478"/>
            <ac:spMkLst>
              <pc:docMk/>
              <pc:sldMasterMk cId="3442277182" sldId="2147483788"/>
              <pc:sldLayoutMk cId="1460600895" sldId="2147483824"/>
              <ac:spMk id="19" creationId="{7E26DBB3-2362-4694-2684-60A7139FD161}"/>
            </ac:spMkLst>
          </pc:spChg>
          <pc:spChg chg="del">
            <ac:chgData name="Bernardo Lares" userId="c0b75bcc-c53b-4925-b19e-54b7afc94e15" providerId="ADAL" clId="{6E66F923-8F06-4A9C-8933-890757EFA546}" dt="2024-10-16T09:34:06.621" v="248" actId="478"/>
            <ac:spMkLst>
              <pc:docMk/>
              <pc:sldMasterMk cId="3442277182" sldId="2147483788"/>
              <pc:sldLayoutMk cId="1460600895" sldId="2147483824"/>
              <ac:spMk id="20" creationId="{D3D3E016-9E7F-1BD4-F9D1-4C6C89C70224}"/>
            </ac:spMkLst>
          </pc:spChg>
          <pc:spChg chg="del">
            <ac:chgData name="Bernardo Lares" userId="c0b75bcc-c53b-4925-b19e-54b7afc94e15" providerId="ADAL" clId="{6E66F923-8F06-4A9C-8933-890757EFA546}" dt="2024-10-16T09:34:06.621" v="248" actId="478"/>
            <ac:spMkLst>
              <pc:docMk/>
              <pc:sldMasterMk cId="3442277182" sldId="2147483788"/>
              <pc:sldLayoutMk cId="1460600895" sldId="2147483824"/>
              <ac:spMk id="21" creationId="{774212F8-FB4A-0614-90EA-4549FA65D8CB}"/>
            </ac:spMkLst>
          </pc:spChg>
          <pc:spChg chg="del">
            <ac:chgData name="Bernardo Lares" userId="c0b75bcc-c53b-4925-b19e-54b7afc94e15" providerId="ADAL" clId="{6E66F923-8F06-4A9C-8933-890757EFA546}" dt="2024-10-16T09:34:06.621" v="248" actId="478"/>
            <ac:spMkLst>
              <pc:docMk/>
              <pc:sldMasterMk cId="3442277182" sldId="2147483788"/>
              <pc:sldLayoutMk cId="1460600895" sldId="2147483824"/>
              <ac:spMk id="22" creationId="{713A5AE3-AE2E-605A-5F8B-3C95F0F63146}"/>
            </ac:spMkLst>
          </pc:spChg>
          <pc:spChg chg="add mod">
            <ac:chgData name="Bernardo Lares" userId="c0b75bcc-c53b-4925-b19e-54b7afc94e15" providerId="ADAL" clId="{6E66F923-8F06-4A9C-8933-890757EFA546}" dt="2024-10-16T09:35:55.684" v="315" actId="20577"/>
            <ac:spMkLst>
              <pc:docMk/>
              <pc:sldMasterMk cId="3442277182" sldId="2147483788"/>
              <pc:sldLayoutMk cId="1460600895" sldId="2147483824"/>
              <ac:spMk id="23" creationId="{446E1CEF-3909-0250-259B-59842A95C582}"/>
            </ac:spMkLst>
          </pc:spChg>
          <pc:spChg chg="del">
            <ac:chgData name="Bernardo Lares" userId="c0b75bcc-c53b-4925-b19e-54b7afc94e15" providerId="ADAL" clId="{6E66F923-8F06-4A9C-8933-890757EFA546}" dt="2024-10-16T09:33:53.716" v="244" actId="478"/>
            <ac:spMkLst>
              <pc:docMk/>
              <pc:sldMasterMk cId="3442277182" sldId="2147483788"/>
              <pc:sldLayoutMk cId="1460600895" sldId="2147483824"/>
              <ac:spMk id="24" creationId="{887F1F8E-AE85-4502-65BF-F703C08ADC7E}"/>
            </ac:spMkLst>
          </pc:spChg>
          <pc:spChg chg="del">
            <ac:chgData name="Bernardo Lares" userId="c0b75bcc-c53b-4925-b19e-54b7afc94e15" providerId="ADAL" clId="{6E66F923-8F06-4A9C-8933-890757EFA546}" dt="2024-10-16T09:33:53.716" v="244" actId="478"/>
            <ac:spMkLst>
              <pc:docMk/>
              <pc:sldMasterMk cId="3442277182" sldId="2147483788"/>
              <pc:sldLayoutMk cId="1460600895" sldId="2147483824"/>
              <ac:spMk id="25" creationId="{F5CF6485-8342-5ADC-1F0D-6B4B2CDD3F66}"/>
            </ac:spMkLst>
          </pc:spChg>
          <pc:spChg chg="del">
            <ac:chgData name="Bernardo Lares" userId="c0b75bcc-c53b-4925-b19e-54b7afc94e15" providerId="ADAL" clId="{6E66F923-8F06-4A9C-8933-890757EFA546}" dt="2024-10-16T09:33:50.862" v="243" actId="478"/>
            <ac:spMkLst>
              <pc:docMk/>
              <pc:sldMasterMk cId="3442277182" sldId="2147483788"/>
              <pc:sldLayoutMk cId="1460600895" sldId="2147483824"/>
              <ac:spMk id="26" creationId="{D0434839-5CDD-6805-E929-E5B88577D1A6}"/>
            </ac:spMkLst>
          </pc:spChg>
          <pc:spChg chg="del">
            <ac:chgData name="Bernardo Lares" userId="c0b75bcc-c53b-4925-b19e-54b7afc94e15" providerId="ADAL" clId="{6E66F923-8F06-4A9C-8933-890757EFA546}" dt="2024-10-16T09:37:03.076" v="366" actId="478"/>
            <ac:spMkLst>
              <pc:docMk/>
              <pc:sldMasterMk cId="3442277182" sldId="2147483788"/>
              <pc:sldLayoutMk cId="1460600895" sldId="2147483824"/>
              <ac:spMk id="27" creationId="{693F869E-224D-1F9F-F9AD-2E4A121A14DF}"/>
            </ac:spMkLst>
          </pc:spChg>
          <pc:spChg chg="del">
            <ac:chgData name="Bernardo Lares" userId="c0b75bcc-c53b-4925-b19e-54b7afc94e15" providerId="ADAL" clId="{6E66F923-8F06-4A9C-8933-890757EFA546}" dt="2024-10-16T09:37:03.076" v="366" actId="478"/>
            <ac:spMkLst>
              <pc:docMk/>
              <pc:sldMasterMk cId="3442277182" sldId="2147483788"/>
              <pc:sldLayoutMk cId="1460600895" sldId="2147483824"/>
              <ac:spMk id="28" creationId="{7C34DB49-49BF-46E4-FF57-5DE564F277C7}"/>
            </ac:spMkLst>
          </pc:spChg>
          <pc:spChg chg="del">
            <ac:chgData name="Bernardo Lares" userId="c0b75bcc-c53b-4925-b19e-54b7afc94e15" providerId="ADAL" clId="{6E66F923-8F06-4A9C-8933-890757EFA546}" dt="2024-10-16T09:37:05.469" v="367" actId="478"/>
            <ac:spMkLst>
              <pc:docMk/>
              <pc:sldMasterMk cId="3442277182" sldId="2147483788"/>
              <pc:sldLayoutMk cId="1460600895" sldId="2147483824"/>
              <ac:spMk id="29" creationId="{89AB9FC4-5A2C-F486-1742-B3D35CA1BCA6}"/>
            </ac:spMkLst>
          </pc:spChg>
          <pc:spChg chg="mod">
            <ac:chgData name="Bernardo Lares" userId="c0b75bcc-c53b-4925-b19e-54b7afc94e15" providerId="ADAL" clId="{6E66F923-8F06-4A9C-8933-890757EFA546}" dt="2024-10-16T09:37:13.496" v="370" actId="962"/>
            <ac:spMkLst>
              <pc:docMk/>
              <pc:sldMasterMk cId="3442277182" sldId="2147483788"/>
              <pc:sldLayoutMk cId="1460600895" sldId="2147483824"/>
              <ac:spMk id="30" creationId="{C62DF908-1D66-C5FB-5076-D9DE5CEC34EB}"/>
            </ac:spMkLst>
          </pc:spChg>
          <pc:spChg chg="mod">
            <ac:chgData name="Bernardo Lares" userId="c0b75bcc-c53b-4925-b19e-54b7afc94e15" providerId="ADAL" clId="{6E66F923-8F06-4A9C-8933-890757EFA546}" dt="2024-10-16T09:37:25.218" v="371" actId="962"/>
            <ac:spMkLst>
              <pc:docMk/>
              <pc:sldMasterMk cId="3442277182" sldId="2147483788"/>
              <pc:sldLayoutMk cId="1460600895" sldId="2147483824"/>
              <ac:spMk id="31" creationId="{D815585C-8028-0CD7-D52B-3AD1A0D9310A}"/>
            </ac:spMkLst>
          </pc:spChg>
          <pc:spChg chg="del mod">
            <ac:chgData name="Bernardo Lares" userId="c0b75bcc-c53b-4925-b19e-54b7afc94e15" providerId="ADAL" clId="{6E66F923-8F06-4A9C-8933-890757EFA546}" dt="2024-10-16T09:37:07.442" v="369" actId="478"/>
            <ac:spMkLst>
              <pc:docMk/>
              <pc:sldMasterMk cId="3442277182" sldId="2147483788"/>
              <pc:sldLayoutMk cId="1460600895" sldId="2147483824"/>
              <ac:spMk id="32" creationId="{E7AB00F1-926F-F6F2-861C-274FD34CDC57}"/>
            </ac:spMkLst>
          </pc:spChg>
          <pc:spChg chg="add mod">
            <ac:chgData name="Bernardo Lares" userId="c0b75bcc-c53b-4925-b19e-54b7afc94e15" providerId="ADAL" clId="{6E66F923-8F06-4A9C-8933-890757EFA546}" dt="2024-10-16T09:44:00.574" v="593" actId="20577"/>
            <ac:spMkLst>
              <pc:docMk/>
              <pc:sldMasterMk cId="3442277182" sldId="2147483788"/>
              <pc:sldLayoutMk cId="1460600895" sldId="2147483824"/>
              <ac:spMk id="40" creationId="{7086E245-1BBF-F8EC-7AAB-A72D87062DC5}"/>
            </ac:spMkLst>
          </pc:spChg>
          <pc:spChg chg="add del mod">
            <ac:chgData name="Bernardo Lares" userId="c0b75bcc-c53b-4925-b19e-54b7afc94e15" providerId="ADAL" clId="{6E66F923-8F06-4A9C-8933-890757EFA546}" dt="2024-10-16T09:37:44.464" v="374" actId="478"/>
            <ac:spMkLst>
              <pc:docMk/>
              <pc:sldMasterMk cId="3442277182" sldId="2147483788"/>
              <pc:sldLayoutMk cId="1460600895" sldId="2147483824"/>
              <ac:spMk id="41" creationId="{E0FCF30A-D7D5-ACC9-F34B-C32B14E88733}"/>
            </ac:spMkLst>
          </pc:spChg>
          <pc:spChg chg="del">
            <ac:chgData name="Bernardo Lares" userId="c0b75bcc-c53b-4925-b19e-54b7afc94e15" providerId="ADAL" clId="{6E66F923-8F06-4A9C-8933-890757EFA546}" dt="2024-10-16T09:34:03.407" v="247" actId="478"/>
            <ac:spMkLst>
              <pc:docMk/>
              <pc:sldMasterMk cId="3442277182" sldId="2147483788"/>
              <pc:sldLayoutMk cId="1460600895" sldId="2147483824"/>
              <ac:spMk id="42" creationId="{28C1EA55-F2E7-A74E-5C2A-8057922F99DA}"/>
            </ac:spMkLst>
          </pc:spChg>
          <pc:spChg chg="del">
            <ac:chgData name="Bernardo Lares" userId="c0b75bcc-c53b-4925-b19e-54b7afc94e15" providerId="ADAL" clId="{6E66F923-8F06-4A9C-8933-890757EFA546}" dt="2024-10-16T09:34:01.936" v="246" actId="478"/>
            <ac:spMkLst>
              <pc:docMk/>
              <pc:sldMasterMk cId="3442277182" sldId="2147483788"/>
              <pc:sldLayoutMk cId="1460600895" sldId="2147483824"/>
              <ac:spMk id="43" creationId="{B4BACFB0-7A29-0210-C430-3B0E35F4B518}"/>
            </ac:spMkLst>
          </pc:spChg>
          <pc:spChg chg="add mod">
            <ac:chgData name="Bernardo Lares" userId="c0b75bcc-c53b-4925-b19e-54b7afc94e15" providerId="ADAL" clId="{6E66F923-8F06-4A9C-8933-890757EFA546}" dt="2024-10-16T09:38:12.298" v="378" actId="962"/>
            <ac:spMkLst>
              <pc:docMk/>
              <pc:sldMasterMk cId="3442277182" sldId="2147483788"/>
              <pc:sldLayoutMk cId="1460600895" sldId="2147483824"/>
              <ac:spMk id="45" creationId="{402A6F5E-398A-7B50-A461-68FDCD3B5ACD}"/>
            </ac:spMkLst>
          </pc:spChg>
          <pc:spChg chg="add del mod">
            <ac:chgData name="Bernardo Lares" userId="c0b75bcc-c53b-4925-b19e-54b7afc94e15" providerId="ADAL" clId="{6E66F923-8F06-4A9C-8933-890757EFA546}" dt="2024-10-16T10:19:15.801" v="651" actId="478"/>
            <ac:spMkLst>
              <pc:docMk/>
              <pc:sldMasterMk cId="3442277182" sldId="2147483788"/>
              <pc:sldLayoutMk cId="1460600895" sldId="2147483824"/>
              <ac:spMk id="46" creationId="{A80DDBD5-0692-527B-3117-3E2EB6D8F503}"/>
            </ac:spMkLst>
          </pc:spChg>
          <pc:spChg chg="add mod">
            <ac:chgData name="Bernardo Lares" userId="c0b75bcc-c53b-4925-b19e-54b7afc94e15" providerId="ADAL" clId="{6E66F923-8F06-4A9C-8933-890757EFA546}" dt="2024-10-16T11:46:57.430" v="668" actId="14100"/>
            <ac:spMkLst>
              <pc:docMk/>
              <pc:sldMasterMk cId="3442277182" sldId="2147483788"/>
              <pc:sldLayoutMk cId="1460600895" sldId="2147483824"/>
              <ac:spMk id="47" creationId="{BE408383-CE48-02E3-EC06-573D6992BE41}"/>
            </ac:spMkLst>
          </pc:spChg>
          <pc:spChg chg="add del mod modVis">
            <ac:chgData name="Bernardo Lares" userId="c0b75bcc-c53b-4925-b19e-54b7afc94e15" providerId="ADAL" clId="{6E66F923-8F06-4A9C-8933-890757EFA546}" dt="2024-10-16T09:39:40.198" v="446"/>
            <ac:spMkLst>
              <pc:docMk/>
              <pc:sldMasterMk cId="3442277182" sldId="2147483788"/>
              <pc:sldLayoutMk cId="1460600895" sldId="2147483824"/>
              <ac:spMk id="48" creationId="{2C0F966B-E20A-4CFF-A6D4-E687795A5853}"/>
            </ac:spMkLst>
          </pc:spChg>
          <pc:spChg chg="add del mod modVis">
            <ac:chgData name="Bernardo Lares" userId="c0b75bcc-c53b-4925-b19e-54b7afc94e15" providerId="ADAL" clId="{6E66F923-8F06-4A9C-8933-890757EFA546}" dt="2024-10-16T09:39:42.933" v="487"/>
            <ac:spMkLst>
              <pc:docMk/>
              <pc:sldMasterMk cId="3442277182" sldId="2147483788"/>
              <pc:sldLayoutMk cId="1460600895" sldId="2147483824"/>
              <ac:spMk id="49" creationId="{75F85ECD-BE1D-DE64-CEE6-9A13E910EE48}"/>
            </ac:spMkLst>
          </pc:spChg>
          <pc:spChg chg="del mod">
            <ac:chgData name="Bernardo Lares" userId="c0b75bcc-c53b-4925-b19e-54b7afc94e15" providerId="ADAL" clId="{6E66F923-8F06-4A9C-8933-890757EFA546}" dt="2024-10-16T09:35:34.691" v="297" actId="478"/>
            <ac:spMkLst>
              <pc:docMk/>
              <pc:sldMasterMk cId="3442277182" sldId="2147483788"/>
              <pc:sldLayoutMk cId="1460600895" sldId="2147483824"/>
              <ac:spMk id="50" creationId="{A5A22E4E-5EF3-7784-F569-A25DDBBF7DCA}"/>
            </ac:spMkLst>
          </pc:spChg>
          <pc:spChg chg="del">
            <ac:chgData name="Bernardo Lares" userId="c0b75bcc-c53b-4925-b19e-54b7afc94e15" providerId="ADAL" clId="{6E66F923-8F06-4A9C-8933-890757EFA546}" dt="2024-10-16T09:35:59.097" v="316" actId="478"/>
            <ac:spMkLst>
              <pc:docMk/>
              <pc:sldMasterMk cId="3442277182" sldId="2147483788"/>
              <pc:sldLayoutMk cId="1460600895" sldId="2147483824"/>
              <ac:spMk id="51" creationId="{2D356860-BEDC-D2CE-854F-9992C3330CC5}"/>
            </ac:spMkLst>
          </pc:spChg>
          <pc:spChg chg="add del mod modVis">
            <ac:chgData name="Bernardo Lares" userId="c0b75bcc-c53b-4925-b19e-54b7afc94e15" providerId="ADAL" clId="{6E66F923-8F06-4A9C-8933-890757EFA546}" dt="2024-10-16T09:39:48.621" v="527"/>
            <ac:spMkLst>
              <pc:docMk/>
              <pc:sldMasterMk cId="3442277182" sldId="2147483788"/>
              <pc:sldLayoutMk cId="1460600895" sldId="2147483824"/>
              <ac:spMk id="52" creationId="{408ED74E-80C2-D2CD-46A0-43761E964366}"/>
            </ac:spMkLst>
          </pc:spChg>
          <pc:spChg chg="add del mod modVis">
            <ac:chgData name="Bernardo Lares" userId="c0b75bcc-c53b-4925-b19e-54b7afc94e15" providerId="ADAL" clId="{6E66F923-8F06-4A9C-8933-890757EFA546}" dt="2024-10-16T09:39:49.306" v="554"/>
            <ac:spMkLst>
              <pc:docMk/>
              <pc:sldMasterMk cId="3442277182" sldId="2147483788"/>
              <pc:sldLayoutMk cId="1460600895" sldId="2147483824"/>
              <ac:spMk id="53" creationId="{D5A028B6-3190-5417-A559-AB57A8DF5096}"/>
            </ac:spMkLst>
          </pc:spChg>
          <pc:graphicFrameChg chg="add del mod">
            <ac:chgData name="Bernardo Lares" userId="c0b75bcc-c53b-4925-b19e-54b7afc94e15" providerId="ADAL" clId="{6E66F923-8F06-4A9C-8933-890757EFA546}" dt="2024-10-16T10:25:12.951" v="661" actId="478"/>
            <ac:graphicFrameMkLst>
              <pc:docMk/>
              <pc:sldMasterMk cId="3442277182" sldId="2147483788"/>
              <pc:sldLayoutMk cId="1460600895" sldId="2147483824"/>
              <ac:graphicFrameMk id="3" creationId="{6814EED4-CA65-915E-B4F5-6517AF751EE7}"/>
            </ac:graphicFrameMkLst>
          </pc:graphicFrameChg>
          <pc:graphicFrameChg chg="mod">
            <ac:chgData name="Bernardo Lares" userId="c0b75bcc-c53b-4925-b19e-54b7afc94e15" providerId="ADAL" clId="{6E66F923-8F06-4A9C-8933-890757EFA546}" dt="2024-10-16T09:39:49.308" v="556"/>
            <ac:graphicFrameMkLst>
              <pc:docMk/>
              <pc:sldMasterMk cId="3442277182" sldId="2147483788"/>
              <pc:sldLayoutMk cId="1460600895" sldId="2147483824"/>
              <ac:graphicFrameMk id="44" creationId="{524950EA-7FEC-91CE-2FDC-D2595F5E8F73}"/>
            </ac:graphicFrameMkLst>
          </pc:graphicFrameChg>
          <pc:picChg chg="del">
            <ac:chgData name="Bernardo Lares" userId="c0b75bcc-c53b-4925-b19e-54b7afc94e15" providerId="ADAL" clId="{6E66F923-8F06-4A9C-8933-890757EFA546}" dt="2024-10-16T09:33:53.716" v="244" actId="478"/>
            <ac:picMkLst>
              <pc:docMk/>
              <pc:sldMasterMk cId="3442277182" sldId="2147483788"/>
              <pc:sldLayoutMk cId="1460600895" sldId="2147483824"/>
              <ac:picMk id="33" creationId="{73F9AE66-71EA-7BC7-D96E-0714663FFE52}"/>
            </ac:picMkLst>
          </pc:picChg>
          <pc:picChg chg="del">
            <ac:chgData name="Bernardo Lares" userId="c0b75bcc-c53b-4925-b19e-54b7afc94e15" providerId="ADAL" clId="{6E66F923-8F06-4A9C-8933-890757EFA546}" dt="2024-10-16T09:33:53.716" v="244" actId="478"/>
            <ac:picMkLst>
              <pc:docMk/>
              <pc:sldMasterMk cId="3442277182" sldId="2147483788"/>
              <pc:sldLayoutMk cId="1460600895" sldId="2147483824"/>
              <ac:picMk id="34" creationId="{68376A21-5077-A36E-2D50-66EB14DD6D6B}"/>
            </ac:picMkLst>
          </pc:picChg>
          <pc:picChg chg="del">
            <ac:chgData name="Bernardo Lares" userId="c0b75bcc-c53b-4925-b19e-54b7afc94e15" providerId="ADAL" clId="{6E66F923-8F06-4A9C-8933-890757EFA546}" dt="2024-10-16T09:33:53.716" v="244" actId="478"/>
            <ac:picMkLst>
              <pc:docMk/>
              <pc:sldMasterMk cId="3442277182" sldId="2147483788"/>
              <pc:sldLayoutMk cId="1460600895" sldId="2147483824"/>
              <ac:picMk id="35" creationId="{E002F006-80FD-2E58-DCB4-52FEFA3A2BD5}"/>
            </ac:picMkLst>
          </pc:picChg>
          <pc:picChg chg="del">
            <ac:chgData name="Bernardo Lares" userId="c0b75bcc-c53b-4925-b19e-54b7afc94e15" providerId="ADAL" clId="{6E66F923-8F06-4A9C-8933-890757EFA546}" dt="2024-10-16T09:34:06.621" v="248" actId="478"/>
            <ac:picMkLst>
              <pc:docMk/>
              <pc:sldMasterMk cId="3442277182" sldId="2147483788"/>
              <pc:sldLayoutMk cId="1460600895" sldId="2147483824"/>
              <ac:picMk id="36" creationId="{BFDC6136-5D4F-F76B-5644-00EC86BA3DA0}"/>
            </ac:picMkLst>
          </pc:picChg>
          <pc:picChg chg="del">
            <ac:chgData name="Bernardo Lares" userId="c0b75bcc-c53b-4925-b19e-54b7afc94e15" providerId="ADAL" clId="{6E66F923-8F06-4A9C-8933-890757EFA546}" dt="2024-10-16T09:34:06.621" v="248" actId="478"/>
            <ac:picMkLst>
              <pc:docMk/>
              <pc:sldMasterMk cId="3442277182" sldId="2147483788"/>
              <pc:sldLayoutMk cId="1460600895" sldId="2147483824"/>
              <ac:picMk id="37" creationId="{CEC24FD9-08C1-4C19-185A-583DE471E39C}"/>
            </ac:picMkLst>
          </pc:picChg>
          <pc:picChg chg="del">
            <ac:chgData name="Bernardo Lares" userId="c0b75bcc-c53b-4925-b19e-54b7afc94e15" providerId="ADAL" clId="{6E66F923-8F06-4A9C-8933-890757EFA546}" dt="2024-10-16T09:34:06.621" v="248" actId="478"/>
            <ac:picMkLst>
              <pc:docMk/>
              <pc:sldMasterMk cId="3442277182" sldId="2147483788"/>
              <pc:sldLayoutMk cId="1460600895" sldId="2147483824"/>
              <ac:picMk id="38" creationId="{C22AF21B-1DE3-5C3D-81F7-CF1311049F19}"/>
            </ac:picMkLst>
          </pc:picChg>
          <pc:picChg chg="del">
            <ac:chgData name="Bernardo Lares" userId="c0b75bcc-c53b-4925-b19e-54b7afc94e15" providerId="ADAL" clId="{6E66F923-8F06-4A9C-8933-890757EFA546}" dt="2024-10-16T09:34:06.621" v="248" actId="478"/>
            <ac:picMkLst>
              <pc:docMk/>
              <pc:sldMasterMk cId="3442277182" sldId="2147483788"/>
              <pc:sldLayoutMk cId="1460600895" sldId="2147483824"/>
              <ac:picMk id="39" creationId="{60D2271D-0BA9-93D2-C4EE-2F409B5E79CE}"/>
            </ac:picMkLst>
          </pc:picChg>
        </pc:sldLayoutChg>
        <pc:sldLayoutChg chg="add del mod">
          <pc:chgData name="Bernardo Lares" userId="c0b75bcc-c53b-4925-b19e-54b7afc94e15" providerId="ADAL" clId="{6E66F923-8F06-4A9C-8933-890757EFA546}" dt="2024-10-16T11:54:00.636" v="671" actId="2890"/>
          <pc:sldLayoutMkLst>
            <pc:docMk/>
            <pc:sldMasterMk cId="3442277182" sldId="2147483788"/>
            <pc:sldLayoutMk cId="421166703" sldId="2147483825"/>
          </pc:sldLayoutMkLst>
        </pc:sldLayoutChg>
        <pc:sldLayoutChg chg="addSp delSp modSp add mod">
          <pc:chgData name="Bernardo Lares" userId="c0b75bcc-c53b-4925-b19e-54b7afc94e15" providerId="ADAL" clId="{6E66F923-8F06-4A9C-8933-890757EFA546}" dt="2024-10-31T14:20:44.072" v="6010"/>
          <pc:sldLayoutMkLst>
            <pc:docMk/>
            <pc:sldMasterMk cId="3442277182" sldId="2147483788"/>
            <pc:sldLayoutMk cId="2447763091" sldId="2147483825"/>
          </pc:sldLayoutMkLst>
          <pc:spChg chg="mod ord">
            <ac:chgData name="Bernardo Lares" userId="c0b75bcc-c53b-4925-b19e-54b7afc94e15" providerId="ADAL" clId="{6E66F923-8F06-4A9C-8933-890757EFA546}" dt="2024-10-31T14:20:44.021" v="5939"/>
            <ac:spMkLst>
              <pc:docMk/>
              <pc:sldMasterMk cId="3442277182" sldId="2147483788"/>
              <pc:sldLayoutMk cId="2447763091" sldId="2147483825"/>
              <ac:spMk id="2" creationId="{B0002D55-6A06-5683-C312-CA5DFDAEEB11}"/>
            </ac:spMkLst>
          </pc:spChg>
          <pc:spChg chg="mod ord">
            <ac:chgData name="Bernardo Lares" userId="c0b75bcc-c53b-4925-b19e-54b7afc94e15" providerId="ADAL" clId="{6E66F923-8F06-4A9C-8933-890757EFA546}" dt="2024-10-31T14:20:44.013" v="5927"/>
            <ac:spMkLst>
              <pc:docMk/>
              <pc:sldMasterMk cId="3442277182" sldId="2147483788"/>
              <pc:sldLayoutMk cId="2447763091" sldId="2147483825"/>
              <ac:spMk id="3" creationId="{341B731B-8FAA-4A1B-8740-D7002967C1CA}"/>
            </ac:spMkLst>
          </pc:spChg>
          <pc:spChg chg="add mod ord">
            <ac:chgData name="Bernardo Lares" userId="c0b75bcc-c53b-4925-b19e-54b7afc94e15" providerId="ADAL" clId="{6E66F923-8F06-4A9C-8933-890757EFA546}" dt="2024-10-31T14:20:44.022" v="5941"/>
            <ac:spMkLst>
              <pc:docMk/>
              <pc:sldMasterMk cId="3442277182" sldId="2147483788"/>
              <pc:sldLayoutMk cId="2447763091" sldId="2147483825"/>
              <ac:spMk id="4" creationId="{F5307F05-1D30-E3D8-A57F-B19CE177554B}"/>
            </ac:spMkLst>
          </pc:spChg>
          <pc:spChg chg="mod ord">
            <ac:chgData name="Bernardo Lares" userId="c0b75bcc-c53b-4925-b19e-54b7afc94e15" providerId="ADAL" clId="{6E66F923-8F06-4A9C-8933-890757EFA546}" dt="2024-10-31T14:20:44.014" v="5929"/>
            <ac:spMkLst>
              <pc:docMk/>
              <pc:sldMasterMk cId="3442277182" sldId="2147483788"/>
              <pc:sldLayoutMk cId="2447763091" sldId="2147483825"/>
              <ac:spMk id="5" creationId="{D1C84BE9-25CA-45B1-9061-9DCABA70A1E6}"/>
            </ac:spMkLst>
          </pc:spChg>
          <pc:spChg chg="add mod ord">
            <ac:chgData name="Bernardo Lares" userId="c0b75bcc-c53b-4925-b19e-54b7afc94e15" providerId="ADAL" clId="{6E66F923-8F06-4A9C-8933-890757EFA546}" dt="2024-10-31T14:20:44.024" v="5943"/>
            <ac:spMkLst>
              <pc:docMk/>
              <pc:sldMasterMk cId="3442277182" sldId="2147483788"/>
              <pc:sldLayoutMk cId="2447763091" sldId="2147483825"/>
              <ac:spMk id="6" creationId="{A2A2AC4C-0EDD-364D-511C-F8905D1B86A8}"/>
            </ac:spMkLst>
          </pc:spChg>
          <pc:spChg chg="add del mod modVis">
            <ac:chgData name="Bernardo Lares" userId="c0b75bcc-c53b-4925-b19e-54b7afc94e15" providerId="ADAL" clId="{6E66F923-8F06-4A9C-8933-890757EFA546}" dt="2024-10-31T14:20:28.536" v="5312"/>
            <ac:spMkLst>
              <pc:docMk/>
              <pc:sldMasterMk cId="3442277182" sldId="2147483788"/>
              <pc:sldLayoutMk cId="2447763091" sldId="2147483825"/>
              <ac:spMk id="8" creationId="{2BD52AC5-D5E0-73F7-B5F1-397C4D5BE420}"/>
            </ac:spMkLst>
          </pc:spChg>
          <pc:spChg chg="add mod ord replST">
            <ac:chgData name="Bernardo Lares" userId="c0b75bcc-c53b-4925-b19e-54b7afc94e15" providerId="ADAL" clId="{6E66F923-8F06-4A9C-8933-890757EFA546}" dt="2024-10-31T14:20:44.026" v="5946"/>
            <ac:spMkLst>
              <pc:docMk/>
              <pc:sldMasterMk cId="3442277182" sldId="2147483788"/>
              <pc:sldLayoutMk cId="2447763091" sldId="2147483825"/>
              <ac:spMk id="9" creationId="{6C650BE7-9F1D-94FD-C902-95841A54623B}"/>
            </ac:spMkLst>
          </pc:spChg>
          <pc:spChg chg="add mod ord replST">
            <ac:chgData name="Bernardo Lares" userId="c0b75bcc-c53b-4925-b19e-54b7afc94e15" providerId="ADAL" clId="{6E66F923-8F06-4A9C-8933-890757EFA546}" dt="2024-10-31T14:20:44.027" v="5948"/>
            <ac:spMkLst>
              <pc:docMk/>
              <pc:sldMasterMk cId="3442277182" sldId="2147483788"/>
              <pc:sldLayoutMk cId="2447763091" sldId="2147483825"/>
              <ac:spMk id="10" creationId="{52E16485-6ED0-AF92-9B7C-77C4300CF0FC}"/>
            </ac:spMkLst>
          </pc:spChg>
          <pc:spChg chg="mod ord">
            <ac:chgData name="Bernardo Lares" userId="c0b75bcc-c53b-4925-b19e-54b7afc94e15" providerId="ADAL" clId="{6E66F923-8F06-4A9C-8933-890757EFA546}" dt="2024-10-31T14:20:44.016" v="5931"/>
            <ac:spMkLst>
              <pc:docMk/>
              <pc:sldMasterMk cId="3442277182" sldId="2147483788"/>
              <pc:sldLayoutMk cId="2447763091" sldId="2147483825"/>
              <ac:spMk id="11" creationId="{BF0296A1-E119-4AEC-80A5-65FD719F9631}"/>
            </ac:spMkLst>
          </pc:spChg>
          <pc:spChg chg="mod ord">
            <ac:chgData name="Bernardo Lares" userId="c0b75bcc-c53b-4925-b19e-54b7afc94e15" providerId="ADAL" clId="{6E66F923-8F06-4A9C-8933-890757EFA546}" dt="2024-10-31T14:20:44.017" v="5933"/>
            <ac:spMkLst>
              <pc:docMk/>
              <pc:sldMasterMk cId="3442277182" sldId="2147483788"/>
              <pc:sldLayoutMk cId="2447763091" sldId="2147483825"/>
              <ac:spMk id="12" creationId="{88C0D48C-007D-FEEC-D1DF-C00891876F0F}"/>
            </ac:spMkLst>
          </pc:spChg>
          <pc:spChg chg="mod ord">
            <ac:chgData name="Bernardo Lares" userId="c0b75bcc-c53b-4925-b19e-54b7afc94e15" providerId="ADAL" clId="{6E66F923-8F06-4A9C-8933-890757EFA546}" dt="2024-10-31T14:20:44.018" v="5935"/>
            <ac:spMkLst>
              <pc:docMk/>
              <pc:sldMasterMk cId="3442277182" sldId="2147483788"/>
              <pc:sldLayoutMk cId="2447763091" sldId="2147483825"/>
              <ac:spMk id="13" creationId="{1F6E4BF1-5B10-6CC3-60CB-FA773CAB8AF3}"/>
            </ac:spMkLst>
          </pc:spChg>
          <pc:spChg chg="mod ord">
            <ac:chgData name="Bernardo Lares" userId="c0b75bcc-c53b-4925-b19e-54b7afc94e15" providerId="ADAL" clId="{6E66F923-8F06-4A9C-8933-890757EFA546}" dt="2024-10-31T14:20:44.020" v="5937"/>
            <ac:spMkLst>
              <pc:docMk/>
              <pc:sldMasterMk cId="3442277182" sldId="2147483788"/>
              <pc:sldLayoutMk cId="2447763091" sldId="2147483825"/>
              <ac:spMk id="14" creationId="{099DCD39-6F77-D442-9C41-7FE9A4CBB7FE}"/>
            </ac:spMkLst>
          </pc:spChg>
          <pc:spChg chg="add mod ord replST">
            <ac:chgData name="Bernardo Lares" userId="c0b75bcc-c53b-4925-b19e-54b7afc94e15" providerId="ADAL" clId="{6E66F923-8F06-4A9C-8933-890757EFA546}" dt="2024-10-31T14:20:44.028" v="5950"/>
            <ac:spMkLst>
              <pc:docMk/>
              <pc:sldMasterMk cId="3442277182" sldId="2147483788"/>
              <pc:sldLayoutMk cId="2447763091" sldId="2147483825"/>
              <ac:spMk id="15" creationId="{B01A80C6-E6C0-C467-4D03-1F6DCA4E5704}"/>
            </ac:spMkLst>
          </pc:spChg>
          <pc:spChg chg="add mod replST">
            <ac:chgData name="Bernardo Lares" userId="c0b75bcc-c53b-4925-b19e-54b7afc94e15" providerId="ADAL" clId="{6E66F923-8F06-4A9C-8933-890757EFA546}" dt="2024-10-31T14:20:44.029" v="5951"/>
            <ac:spMkLst>
              <pc:docMk/>
              <pc:sldMasterMk cId="3442277182" sldId="2147483788"/>
              <pc:sldLayoutMk cId="2447763091" sldId="2147483825"/>
              <ac:spMk id="16" creationId="{8213B3CD-1B71-4B8E-D321-D31FCB66C9EA}"/>
            </ac:spMkLst>
          </pc:spChg>
          <pc:spChg chg="add mod replST">
            <ac:chgData name="Bernardo Lares" userId="c0b75bcc-c53b-4925-b19e-54b7afc94e15" providerId="ADAL" clId="{6E66F923-8F06-4A9C-8933-890757EFA546}" dt="2024-10-31T14:20:44.030" v="5952"/>
            <ac:spMkLst>
              <pc:docMk/>
              <pc:sldMasterMk cId="3442277182" sldId="2147483788"/>
              <pc:sldLayoutMk cId="2447763091" sldId="2147483825"/>
              <ac:spMk id="17" creationId="{09AB1422-DB6F-9372-86C2-05FCB561DACF}"/>
            </ac:spMkLst>
          </pc:spChg>
          <pc:spChg chg="del">
            <ac:chgData name="Bernardo Lares" userId="c0b75bcc-c53b-4925-b19e-54b7afc94e15" providerId="ADAL" clId="{6E66F923-8F06-4A9C-8933-890757EFA546}" dt="2024-10-16T11:54:39.890" v="674" actId="478"/>
            <ac:spMkLst>
              <pc:docMk/>
              <pc:sldMasterMk cId="3442277182" sldId="2147483788"/>
              <pc:sldLayoutMk cId="2447763091" sldId="2147483825"/>
              <ac:spMk id="18" creationId="{0DD48070-D695-60C2-898C-9832D9369B0C}"/>
            </ac:spMkLst>
          </pc:spChg>
          <pc:spChg chg="add mod replST">
            <ac:chgData name="Bernardo Lares" userId="c0b75bcc-c53b-4925-b19e-54b7afc94e15" providerId="ADAL" clId="{6E66F923-8F06-4A9C-8933-890757EFA546}" dt="2024-10-31T14:20:44.031" v="5953"/>
            <ac:spMkLst>
              <pc:docMk/>
              <pc:sldMasterMk cId="3442277182" sldId="2147483788"/>
              <pc:sldLayoutMk cId="2447763091" sldId="2147483825"/>
              <ac:spMk id="19" creationId="{B541BC74-3472-4FC5-4052-5A734D4E7AC8}"/>
            </ac:spMkLst>
          </pc:spChg>
          <pc:spChg chg="add mod ord replST">
            <ac:chgData name="Bernardo Lares" userId="c0b75bcc-c53b-4925-b19e-54b7afc94e15" providerId="ADAL" clId="{6E66F923-8F06-4A9C-8933-890757EFA546}" dt="2024-10-31T14:20:44.033" v="5955"/>
            <ac:spMkLst>
              <pc:docMk/>
              <pc:sldMasterMk cId="3442277182" sldId="2147483788"/>
              <pc:sldLayoutMk cId="2447763091" sldId="2147483825"/>
              <ac:spMk id="20" creationId="{2B6A758A-83FC-1FF2-317E-04E9527CB8F2}"/>
            </ac:spMkLst>
          </pc:spChg>
          <pc:spChg chg="add mod ord replST">
            <ac:chgData name="Bernardo Lares" userId="c0b75bcc-c53b-4925-b19e-54b7afc94e15" providerId="ADAL" clId="{6E66F923-8F06-4A9C-8933-890757EFA546}" dt="2024-10-31T14:20:44.034" v="5957"/>
            <ac:spMkLst>
              <pc:docMk/>
              <pc:sldMasterMk cId="3442277182" sldId="2147483788"/>
              <pc:sldLayoutMk cId="2447763091" sldId="2147483825"/>
              <ac:spMk id="21" creationId="{5A215945-91DC-B32B-28AB-FB8FB28C0AFF}"/>
            </ac:spMkLst>
          </pc:spChg>
          <pc:spChg chg="add mod ord replST">
            <ac:chgData name="Bernardo Lares" userId="c0b75bcc-c53b-4925-b19e-54b7afc94e15" providerId="ADAL" clId="{6E66F923-8F06-4A9C-8933-890757EFA546}" dt="2024-10-31T14:20:44.035" v="5959"/>
            <ac:spMkLst>
              <pc:docMk/>
              <pc:sldMasterMk cId="3442277182" sldId="2147483788"/>
              <pc:sldLayoutMk cId="2447763091" sldId="2147483825"/>
              <ac:spMk id="22" creationId="{623B125F-8285-FD96-1D2E-43D06C07FF07}"/>
            </ac:spMkLst>
          </pc:spChg>
          <pc:spChg chg="add mod replST">
            <ac:chgData name="Bernardo Lares" userId="c0b75bcc-c53b-4925-b19e-54b7afc94e15" providerId="ADAL" clId="{6E66F923-8F06-4A9C-8933-890757EFA546}" dt="2024-10-31T14:20:44.036" v="5960"/>
            <ac:spMkLst>
              <pc:docMk/>
              <pc:sldMasterMk cId="3442277182" sldId="2147483788"/>
              <pc:sldLayoutMk cId="2447763091" sldId="2147483825"/>
              <ac:spMk id="23" creationId="{9FEA66EE-B004-D457-9FA4-1ACF4C16A694}"/>
            </ac:spMkLst>
          </pc:spChg>
          <pc:spChg chg="add mod replST">
            <ac:chgData name="Bernardo Lares" userId="c0b75bcc-c53b-4925-b19e-54b7afc94e15" providerId="ADAL" clId="{6E66F923-8F06-4A9C-8933-890757EFA546}" dt="2024-10-31T14:20:44.036" v="5961"/>
            <ac:spMkLst>
              <pc:docMk/>
              <pc:sldMasterMk cId="3442277182" sldId="2147483788"/>
              <pc:sldLayoutMk cId="2447763091" sldId="2147483825"/>
              <ac:spMk id="24" creationId="{EA290DB6-8BA2-1383-D113-2478398ABDCD}"/>
            </ac:spMkLst>
          </pc:spChg>
          <pc:spChg chg="add mod replST">
            <ac:chgData name="Bernardo Lares" userId="c0b75bcc-c53b-4925-b19e-54b7afc94e15" providerId="ADAL" clId="{6E66F923-8F06-4A9C-8933-890757EFA546}" dt="2024-10-31T14:20:44.037" v="5962"/>
            <ac:spMkLst>
              <pc:docMk/>
              <pc:sldMasterMk cId="3442277182" sldId="2147483788"/>
              <pc:sldLayoutMk cId="2447763091" sldId="2147483825"/>
              <ac:spMk id="25" creationId="{D23E0D8A-88A2-1B6E-CD7F-D7C3C23488C0}"/>
            </ac:spMkLst>
          </pc:spChg>
          <pc:spChg chg="add del mod modVis">
            <ac:chgData name="Bernardo Lares" userId="c0b75bcc-c53b-4925-b19e-54b7afc94e15" providerId="ADAL" clId="{6E66F923-8F06-4A9C-8933-890757EFA546}" dt="2024-10-31T14:20:31.353" v="5448"/>
            <ac:spMkLst>
              <pc:docMk/>
              <pc:sldMasterMk cId="3442277182" sldId="2147483788"/>
              <pc:sldLayoutMk cId="2447763091" sldId="2147483825"/>
              <ac:spMk id="26" creationId="{2A199E15-4915-84E2-DB59-9B8FFB0749AD}"/>
            </ac:spMkLst>
          </pc:spChg>
          <pc:spChg chg="add mod ord replST">
            <ac:chgData name="Bernardo Lares" userId="c0b75bcc-c53b-4925-b19e-54b7afc94e15" providerId="ADAL" clId="{6E66F923-8F06-4A9C-8933-890757EFA546}" dt="2024-10-31T14:20:44.041" v="5967"/>
            <ac:spMkLst>
              <pc:docMk/>
              <pc:sldMasterMk cId="3442277182" sldId="2147483788"/>
              <pc:sldLayoutMk cId="2447763091" sldId="2147483825"/>
              <ac:spMk id="28" creationId="{F3BF330E-6FCB-53EB-D4D4-C985A9259025}"/>
            </ac:spMkLst>
          </pc:spChg>
          <pc:spChg chg="add mod replST">
            <ac:chgData name="Bernardo Lares" userId="c0b75bcc-c53b-4925-b19e-54b7afc94e15" providerId="ADAL" clId="{6E66F923-8F06-4A9C-8933-890757EFA546}" dt="2024-10-31T14:20:44.041" v="5968"/>
            <ac:spMkLst>
              <pc:docMk/>
              <pc:sldMasterMk cId="3442277182" sldId="2147483788"/>
              <pc:sldLayoutMk cId="2447763091" sldId="2147483825"/>
              <ac:spMk id="29" creationId="{DEC24EB4-3BD0-9801-B9E2-7FAC97066CA8}"/>
            </ac:spMkLst>
          </pc:spChg>
          <pc:spChg chg="add mod replST">
            <ac:chgData name="Bernardo Lares" userId="c0b75bcc-c53b-4925-b19e-54b7afc94e15" providerId="ADAL" clId="{6E66F923-8F06-4A9C-8933-890757EFA546}" dt="2024-10-31T14:20:44.042" v="5969"/>
            <ac:spMkLst>
              <pc:docMk/>
              <pc:sldMasterMk cId="3442277182" sldId="2147483788"/>
              <pc:sldLayoutMk cId="2447763091" sldId="2147483825"/>
              <ac:spMk id="30" creationId="{46525F68-2064-378D-6CA7-8DEA9E095AFA}"/>
            </ac:spMkLst>
          </pc:spChg>
          <pc:spChg chg="add mod ord replST">
            <ac:chgData name="Bernardo Lares" userId="c0b75bcc-c53b-4925-b19e-54b7afc94e15" providerId="ADAL" clId="{6E66F923-8F06-4A9C-8933-890757EFA546}" dt="2024-10-31T14:20:44.043" v="5971"/>
            <ac:spMkLst>
              <pc:docMk/>
              <pc:sldMasterMk cId="3442277182" sldId="2147483788"/>
              <pc:sldLayoutMk cId="2447763091" sldId="2147483825"/>
              <ac:spMk id="31" creationId="{35119B32-AC82-44AD-51BF-D4B1BA75F1DE}"/>
            </ac:spMkLst>
          </pc:spChg>
          <pc:spChg chg="add mod ord replST">
            <ac:chgData name="Bernardo Lares" userId="c0b75bcc-c53b-4925-b19e-54b7afc94e15" providerId="ADAL" clId="{6E66F923-8F06-4A9C-8933-890757EFA546}" dt="2024-10-31T14:20:44.045" v="5973"/>
            <ac:spMkLst>
              <pc:docMk/>
              <pc:sldMasterMk cId="3442277182" sldId="2147483788"/>
              <pc:sldLayoutMk cId="2447763091" sldId="2147483825"/>
              <ac:spMk id="32" creationId="{F6288B28-829D-E51B-0B0F-8CA956125DC2}"/>
            </ac:spMkLst>
          </pc:spChg>
          <pc:spChg chg="add mod ord replST">
            <ac:chgData name="Bernardo Lares" userId="c0b75bcc-c53b-4925-b19e-54b7afc94e15" providerId="ADAL" clId="{6E66F923-8F06-4A9C-8933-890757EFA546}" dt="2024-10-31T14:20:44.046" v="5975"/>
            <ac:spMkLst>
              <pc:docMk/>
              <pc:sldMasterMk cId="3442277182" sldId="2147483788"/>
              <pc:sldLayoutMk cId="2447763091" sldId="2147483825"/>
              <ac:spMk id="33" creationId="{924A0AE6-0553-FF9A-F868-6AE71529E218}"/>
            </ac:spMkLst>
          </pc:spChg>
          <pc:spChg chg="add mod ord replST">
            <ac:chgData name="Bernardo Lares" userId="c0b75bcc-c53b-4925-b19e-54b7afc94e15" providerId="ADAL" clId="{6E66F923-8F06-4A9C-8933-890757EFA546}" dt="2024-10-31T14:20:44.047" v="5977"/>
            <ac:spMkLst>
              <pc:docMk/>
              <pc:sldMasterMk cId="3442277182" sldId="2147483788"/>
              <pc:sldLayoutMk cId="2447763091" sldId="2147483825"/>
              <ac:spMk id="34" creationId="{E8AB27E4-3866-69EB-18CE-C8A75FB74E55}"/>
            </ac:spMkLst>
          </pc:spChg>
          <pc:spChg chg="add mod ord replST">
            <ac:chgData name="Bernardo Lares" userId="c0b75bcc-c53b-4925-b19e-54b7afc94e15" providerId="ADAL" clId="{6E66F923-8F06-4A9C-8933-890757EFA546}" dt="2024-10-31T14:20:44.049" v="5979"/>
            <ac:spMkLst>
              <pc:docMk/>
              <pc:sldMasterMk cId="3442277182" sldId="2147483788"/>
              <pc:sldLayoutMk cId="2447763091" sldId="2147483825"/>
              <ac:spMk id="35" creationId="{F8DDF615-2532-BF3F-E073-B10C345577CB}"/>
            </ac:spMkLst>
          </pc:spChg>
          <pc:spChg chg="add mod ord replST">
            <ac:chgData name="Bernardo Lares" userId="c0b75bcc-c53b-4925-b19e-54b7afc94e15" providerId="ADAL" clId="{6E66F923-8F06-4A9C-8933-890757EFA546}" dt="2024-10-31T14:20:44.050" v="5981"/>
            <ac:spMkLst>
              <pc:docMk/>
              <pc:sldMasterMk cId="3442277182" sldId="2147483788"/>
              <pc:sldLayoutMk cId="2447763091" sldId="2147483825"/>
              <ac:spMk id="36" creationId="{874D4675-11A7-A22D-A32B-61D3C4B0E665}"/>
            </ac:spMkLst>
          </pc:spChg>
          <pc:spChg chg="add mod replST">
            <ac:chgData name="Bernardo Lares" userId="c0b75bcc-c53b-4925-b19e-54b7afc94e15" providerId="ADAL" clId="{6E66F923-8F06-4A9C-8933-890757EFA546}" dt="2024-10-31T14:20:44.051" v="5982"/>
            <ac:spMkLst>
              <pc:docMk/>
              <pc:sldMasterMk cId="3442277182" sldId="2147483788"/>
              <pc:sldLayoutMk cId="2447763091" sldId="2147483825"/>
              <ac:spMk id="37" creationId="{CE5C673D-C181-1FDB-1B32-332F1E303324}"/>
            </ac:spMkLst>
          </pc:spChg>
          <pc:spChg chg="add mod replST">
            <ac:chgData name="Bernardo Lares" userId="c0b75bcc-c53b-4925-b19e-54b7afc94e15" providerId="ADAL" clId="{6E66F923-8F06-4A9C-8933-890757EFA546}" dt="2024-10-31T14:20:44.052" v="5983"/>
            <ac:spMkLst>
              <pc:docMk/>
              <pc:sldMasterMk cId="3442277182" sldId="2147483788"/>
              <pc:sldLayoutMk cId="2447763091" sldId="2147483825"/>
              <ac:spMk id="38" creationId="{64EE7509-0BDA-4F71-9442-33307906D7AA}"/>
            </ac:spMkLst>
          </pc:spChg>
          <pc:spChg chg="add mod replST">
            <ac:chgData name="Bernardo Lares" userId="c0b75bcc-c53b-4925-b19e-54b7afc94e15" providerId="ADAL" clId="{6E66F923-8F06-4A9C-8933-890757EFA546}" dt="2024-10-31T14:20:44.053" v="5984"/>
            <ac:spMkLst>
              <pc:docMk/>
              <pc:sldMasterMk cId="3442277182" sldId="2147483788"/>
              <pc:sldLayoutMk cId="2447763091" sldId="2147483825"/>
              <ac:spMk id="39" creationId="{C6415EDD-2432-C670-4AA4-B7A655BA1D98}"/>
            </ac:spMkLst>
          </pc:spChg>
          <pc:spChg chg="add mod replST">
            <ac:chgData name="Bernardo Lares" userId="c0b75bcc-c53b-4925-b19e-54b7afc94e15" providerId="ADAL" clId="{6E66F923-8F06-4A9C-8933-890757EFA546}" dt="2024-10-31T14:20:44.053" v="5985"/>
            <ac:spMkLst>
              <pc:docMk/>
              <pc:sldMasterMk cId="3442277182" sldId="2147483788"/>
              <pc:sldLayoutMk cId="2447763091" sldId="2147483825"/>
              <ac:spMk id="40" creationId="{449C200E-923B-78DD-EFA5-8857654BDD15}"/>
            </ac:spMkLst>
          </pc:spChg>
          <pc:spChg chg="add mod replST">
            <ac:chgData name="Bernardo Lares" userId="c0b75bcc-c53b-4925-b19e-54b7afc94e15" providerId="ADAL" clId="{6E66F923-8F06-4A9C-8933-890757EFA546}" dt="2024-10-31T14:20:44.054" v="5986"/>
            <ac:spMkLst>
              <pc:docMk/>
              <pc:sldMasterMk cId="3442277182" sldId="2147483788"/>
              <pc:sldLayoutMk cId="2447763091" sldId="2147483825"/>
              <ac:spMk id="41" creationId="{5F5123BE-9760-2215-2989-AB0071034F63}"/>
            </ac:spMkLst>
          </pc:spChg>
          <pc:spChg chg="add mod replST">
            <ac:chgData name="Bernardo Lares" userId="c0b75bcc-c53b-4925-b19e-54b7afc94e15" providerId="ADAL" clId="{6E66F923-8F06-4A9C-8933-890757EFA546}" dt="2024-10-31T14:20:44.055" v="5987"/>
            <ac:spMkLst>
              <pc:docMk/>
              <pc:sldMasterMk cId="3442277182" sldId="2147483788"/>
              <pc:sldLayoutMk cId="2447763091" sldId="2147483825"/>
              <ac:spMk id="42" creationId="{49FA5F41-27E6-799F-82F8-D48E9C62B246}"/>
            </ac:spMkLst>
          </pc:spChg>
          <pc:spChg chg="add mod ord">
            <ac:chgData name="Bernardo Lares" userId="c0b75bcc-c53b-4925-b19e-54b7afc94e15" providerId="ADAL" clId="{6E66F923-8F06-4A9C-8933-890757EFA546}" dt="2024-10-31T14:20:44.056" v="5989"/>
            <ac:spMkLst>
              <pc:docMk/>
              <pc:sldMasterMk cId="3442277182" sldId="2147483788"/>
              <pc:sldLayoutMk cId="2447763091" sldId="2147483825"/>
              <ac:spMk id="43" creationId="{CE9A9571-05DC-079F-5CDF-9FF34FB15D7C}"/>
            </ac:spMkLst>
          </pc:spChg>
          <pc:spChg chg="add mod ord">
            <ac:chgData name="Bernardo Lares" userId="c0b75bcc-c53b-4925-b19e-54b7afc94e15" providerId="ADAL" clId="{6E66F923-8F06-4A9C-8933-890757EFA546}" dt="2024-10-31T14:20:44.058" v="5991"/>
            <ac:spMkLst>
              <pc:docMk/>
              <pc:sldMasterMk cId="3442277182" sldId="2147483788"/>
              <pc:sldLayoutMk cId="2447763091" sldId="2147483825"/>
              <ac:spMk id="44" creationId="{E2E0A21B-26B7-3B0F-EAFE-C7C78EC44027}"/>
            </ac:spMkLst>
          </pc:spChg>
          <pc:spChg chg="add mod ord">
            <ac:chgData name="Bernardo Lares" userId="c0b75bcc-c53b-4925-b19e-54b7afc94e15" providerId="ADAL" clId="{6E66F923-8F06-4A9C-8933-890757EFA546}" dt="2024-10-31T14:20:44.059" v="5993"/>
            <ac:spMkLst>
              <pc:docMk/>
              <pc:sldMasterMk cId="3442277182" sldId="2147483788"/>
              <pc:sldLayoutMk cId="2447763091" sldId="2147483825"/>
              <ac:spMk id="45" creationId="{5CCB23ED-EFA7-38DC-5782-66A732228303}"/>
            </ac:spMkLst>
          </pc:spChg>
          <pc:spChg chg="add mod replST">
            <ac:chgData name="Bernardo Lares" userId="c0b75bcc-c53b-4925-b19e-54b7afc94e15" providerId="ADAL" clId="{6E66F923-8F06-4A9C-8933-890757EFA546}" dt="2024-10-31T14:20:44.060" v="5995"/>
            <ac:spMkLst>
              <pc:docMk/>
              <pc:sldMasterMk cId="3442277182" sldId="2147483788"/>
              <pc:sldLayoutMk cId="2447763091" sldId="2147483825"/>
              <ac:spMk id="47" creationId="{1A1CC25C-CA9A-1428-BFF7-80678EFA63AB}"/>
            </ac:spMkLst>
          </pc:spChg>
          <pc:spChg chg="add mod replST">
            <ac:chgData name="Bernardo Lares" userId="c0b75bcc-c53b-4925-b19e-54b7afc94e15" providerId="ADAL" clId="{6E66F923-8F06-4A9C-8933-890757EFA546}" dt="2024-10-31T14:20:44.061" v="5996"/>
            <ac:spMkLst>
              <pc:docMk/>
              <pc:sldMasterMk cId="3442277182" sldId="2147483788"/>
              <pc:sldLayoutMk cId="2447763091" sldId="2147483825"/>
              <ac:spMk id="48" creationId="{7B54E5C1-ECC3-6436-562E-472E1FC50823}"/>
            </ac:spMkLst>
          </pc:spChg>
          <pc:spChg chg="add mod replST">
            <ac:chgData name="Bernardo Lares" userId="c0b75bcc-c53b-4925-b19e-54b7afc94e15" providerId="ADAL" clId="{6E66F923-8F06-4A9C-8933-890757EFA546}" dt="2024-10-31T14:20:44.062" v="5997"/>
            <ac:spMkLst>
              <pc:docMk/>
              <pc:sldMasterMk cId="3442277182" sldId="2147483788"/>
              <pc:sldLayoutMk cId="2447763091" sldId="2147483825"/>
              <ac:spMk id="49" creationId="{7BD331E2-9B18-46ED-E9CA-A30D1EF11897}"/>
            </ac:spMkLst>
          </pc:spChg>
          <pc:spChg chg="add mod modVis replST">
            <ac:chgData name="Bernardo Lares" userId="c0b75bcc-c53b-4925-b19e-54b7afc94e15" providerId="ADAL" clId="{6E66F923-8F06-4A9C-8933-890757EFA546}" dt="2024-10-31T14:20:44.063" v="5998"/>
            <ac:spMkLst>
              <pc:docMk/>
              <pc:sldMasterMk cId="3442277182" sldId="2147483788"/>
              <pc:sldLayoutMk cId="2447763091" sldId="2147483825"/>
              <ac:spMk id="50" creationId="{BA375A3C-B2E8-C677-B0AC-77CD3BF01D90}"/>
            </ac:spMkLst>
          </pc:spChg>
          <pc:spChg chg="add mod replST">
            <ac:chgData name="Bernardo Lares" userId="c0b75bcc-c53b-4925-b19e-54b7afc94e15" providerId="ADAL" clId="{6E66F923-8F06-4A9C-8933-890757EFA546}" dt="2024-10-31T14:20:44.063" v="5999"/>
            <ac:spMkLst>
              <pc:docMk/>
              <pc:sldMasterMk cId="3442277182" sldId="2147483788"/>
              <pc:sldLayoutMk cId="2447763091" sldId="2147483825"/>
              <ac:spMk id="51" creationId="{09F140FF-8D66-48E2-7FB8-CF097F75E8B3}"/>
            </ac:spMkLst>
          </pc:spChg>
          <pc:spChg chg="add mod replST">
            <ac:chgData name="Bernardo Lares" userId="c0b75bcc-c53b-4925-b19e-54b7afc94e15" providerId="ADAL" clId="{6E66F923-8F06-4A9C-8933-890757EFA546}" dt="2024-10-31T14:20:44.064" v="6000"/>
            <ac:spMkLst>
              <pc:docMk/>
              <pc:sldMasterMk cId="3442277182" sldId="2147483788"/>
              <pc:sldLayoutMk cId="2447763091" sldId="2147483825"/>
              <ac:spMk id="52" creationId="{FBD95979-867A-D8F8-B986-A3352D5FD899}"/>
            </ac:spMkLst>
          </pc:spChg>
          <pc:spChg chg="add mod ord replST">
            <ac:chgData name="Bernardo Lares" userId="c0b75bcc-c53b-4925-b19e-54b7afc94e15" providerId="ADAL" clId="{6E66F923-8F06-4A9C-8933-890757EFA546}" dt="2024-10-31T14:20:44.066" v="6002"/>
            <ac:spMkLst>
              <pc:docMk/>
              <pc:sldMasterMk cId="3442277182" sldId="2147483788"/>
              <pc:sldLayoutMk cId="2447763091" sldId="2147483825"/>
              <ac:spMk id="53" creationId="{ACF11F59-4553-554C-E91D-6F8BECBF028C}"/>
            </ac:spMkLst>
          </pc:spChg>
          <pc:spChg chg="add mod ord replST">
            <ac:chgData name="Bernardo Lares" userId="c0b75bcc-c53b-4925-b19e-54b7afc94e15" providerId="ADAL" clId="{6E66F923-8F06-4A9C-8933-890757EFA546}" dt="2024-10-31T14:20:44.067" v="6004"/>
            <ac:spMkLst>
              <pc:docMk/>
              <pc:sldMasterMk cId="3442277182" sldId="2147483788"/>
              <pc:sldLayoutMk cId="2447763091" sldId="2147483825"/>
              <ac:spMk id="54" creationId="{98AC690D-6012-E22F-8B85-DD57BCC847CA}"/>
            </ac:spMkLst>
          </pc:spChg>
          <pc:spChg chg="add mod replST">
            <ac:chgData name="Bernardo Lares" userId="c0b75bcc-c53b-4925-b19e-54b7afc94e15" providerId="ADAL" clId="{6E66F923-8F06-4A9C-8933-890757EFA546}" dt="2024-10-31T14:20:44.068" v="6005"/>
            <ac:spMkLst>
              <pc:docMk/>
              <pc:sldMasterMk cId="3442277182" sldId="2147483788"/>
              <pc:sldLayoutMk cId="2447763091" sldId="2147483825"/>
              <ac:spMk id="55" creationId="{79ADD38A-2658-FA9C-4362-45FB36798372}"/>
            </ac:spMkLst>
          </pc:spChg>
          <pc:spChg chg="add mod replST">
            <ac:chgData name="Bernardo Lares" userId="c0b75bcc-c53b-4925-b19e-54b7afc94e15" providerId="ADAL" clId="{6E66F923-8F06-4A9C-8933-890757EFA546}" dt="2024-10-31T14:20:44.068" v="6006"/>
            <ac:spMkLst>
              <pc:docMk/>
              <pc:sldMasterMk cId="3442277182" sldId="2147483788"/>
              <pc:sldLayoutMk cId="2447763091" sldId="2147483825"/>
              <ac:spMk id="56" creationId="{6EDD9B77-C045-F925-32CA-2DF062D89C7C}"/>
            </ac:spMkLst>
          </pc:spChg>
          <pc:spChg chg="add mod ord">
            <ac:chgData name="Bernardo Lares" userId="c0b75bcc-c53b-4925-b19e-54b7afc94e15" providerId="ADAL" clId="{6E66F923-8F06-4A9C-8933-890757EFA546}" dt="2024-10-31T14:20:44.070" v="6008"/>
            <ac:spMkLst>
              <pc:docMk/>
              <pc:sldMasterMk cId="3442277182" sldId="2147483788"/>
              <pc:sldLayoutMk cId="2447763091" sldId="2147483825"/>
              <ac:spMk id="57" creationId="{B8E74E61-AC78-1CFE-B9C8-1E2E63F186A1}"/>
            </ac:spMkLst>
          </pc:spChg>
          <pc:spChg chg="add del mod modVis">
            <ac:chgData name="Bernardo Lares" userId="c0b75bcc-c53b-4925-b19e-54b7afc94e15" providerId="ADAL" clId="{6E66F923-8F06-4A9C-8933-890757EFA546}" dt="2024-10-16T11:54:43.387" v="1338"/>
            <ac:spMkLst>
              <pc:docMk/>
              <pc:sldMasterMk cId="3442277182" sldId="2147483788"/>
              <pc:sldLayoutMk cId="2447763091" sldId="2147483825"/>
              <ac:spMk id="58" creationId="{34A7CDB1-5EE1-F38B-A25F-C3B3AD6C99A6}"/>
            </ac:spMkLst>
          </pc:spChg>
          <pc:spChg chg="add del mod modVis">
            <ac:chgData name="Bernardo Lares" userId="c0b75bcc-c53b-4925-b19e-54b7afc94e15" providerId="ADAL" clId="{6E66F923-8F06-4A9C-8933-890757EFA546}" dt="2024-10-31T14:20:33.527" v="5582"/>
            <ac:spMkLst>
              <pc:docMk/>
              <pc:sldMasterMk cId="3442277182" sldId="2147483788"/>
              <pc:sldLayoutMk cId="2447763091" sldId="2147483825"/>
              <ac:spMk id="58" creationId="{DBF65427-C769-A577-7D86-9A86F394B745}"/>
            </ac:spMkLst>
          </pc:spChg>
          <pc:spChg chg="add del mod modVis">
            <ac:chgData name="Bernardo Lares" userId="c0b75bcc-c53b-4925-b19e-54b7afc94e15" providerId="ADAL" clId="{6E66F923-8F06-4A9C-8933-890757EFA546}" dt="2024-10-31T14:20:35.509" v="5716"/>
            <ac:spMkLst>
              <pc:docMk/>
              <pc:sldMasterMk cId="3442277182" sldId="2147483788"/>
              <pc:sldLayoutMk cId="2447763091" sldId="2147483825"/>
              <ac:spMk id="60" creationId="{E83B1FDA-0165-B3EF-4A4F-71023EB421D6}"/>
            </ac:spMkLst>
          </pc:spChg>
          <pc:spChg chg="add del mod modVis">
            <ac:chgData name="Bernardo Lares" userId="c0b75bcc-c53b-4925-b19e-54b7afc94e15" providerId="ADAL" clId="{6E66F923-8F06-4A9C-8933-890757EFA546}" dt="2024-10-16T11:55:48.678" v="1477"/>
            <ac:spMkLst>
              <pc:docMk/>
              <pc:sldMasterMk cId="3442277182" sldId="2147483788"/>
              <pc:sldLayoutMk cId="2447763091" sldId="2147483825"/>
              <ac:spMk id="62" creationId="{07C0E256-1D5A-C65E-B8A7-C8E798E9A4AE}"/>
            </ac:spMkLst>
          </pc:spChg>
          <pc:spChg chg="add del mod replST">
            <ac:chgData name="Bernardo Lares" userId="c0b75bcc-c53b-4925-b19e-54b7afc94e15" providerId="ADAL" clId="{6E66F923-8F06-4A9C-8933-890757EFA546}" dt="2024-10-31T14:20:43.923" v="5917"/>
            <ac:spMkLst>
              <pc:docMk/>
              <pc:sldMasterMk cId="3442277182" sldId="2147483788"/>
              <pc:sldLayoutMk cId="2447763091" sldId="2147483825"/>
              <ac:spMk id="62" creationId="{FC311C61-D707-E13C-A298-E48314CEBF94}"/>
            </ac:spMkLst>
          </pc:spChg>
          <pc:spChg chg="add del mod modVis">
            <ac:chgData name="Bernardo Lares" userId="c0b75bcc-c53b-4925-b19e-54b7afc94e15" providerId="ADAL" clId="{6E66F923-8F06-4A9C-8933-890757EFA546}" dt="2024-10-31T14:20:40.013" v="5895"/>
            <ac:spMkLst>
              <pc:docMk/>
              <pc:sldMasterMk cId="3442277182" sldId="2147483788"/>
              <pc:sldLayoutMk cId="2447763091" sldId="2147483825"/>
              <ac:spMk id="63" creationId="{4E4A7841-CAA1-90E7-5D0C-1F41C5F4D55E}"/>
            </ac:spMkLst>
          </pc:spChg>
          <pc:spChg chg="add del mod modVis">
            <ac:chgData name="Bernardo Lares" userId="c0b75bcc-c53b-4925-b19e-54b7afc94e15" providerId="ADAL" clId="{6E66F923-8F06-4A9C-8933-890757EFA546}" dt="2024-10-16T11:55:50.754" v="1717"/>
            <ac:spMkLst>
              <pc:docMk/>
              <pc:sldMasterMk cId="3442277182" sldId="2147483788"/>
              <pc:sldLayoutMk cId="2447763091" sldId="2147483825"/>
              <ac:spMk id="65" creationId="{F026A87D-53C0-72A6-6228-59F154689141}"/>
            </ac:spMkLst>
          </pc:spChg>
          <pc:spChg chg="add del mod modVis">
            <ac:chgData name="Bernardo Lares" userId="c0b75bcc-c53b-4925-b19e-54b7afc94e15" providerId="ADAL" clId="{6E66F923-8F06-4A9C-8933-890757EFA546}" dt="2024-10-16T11:58:57.616" v="2362"/>
            <ac:spMkLst>
              <pc:docMk/>
              <pc:sldMasterMk cId="3442277182" sldId="2147483788"/>
              <pc:sldLayoutMk cId="2447763091" sldId="2147483825"/>
              <ac:spMk id="68" creationId="{DB91D80F-7DFE-FE13-EF14-D96BECBD04E1}"/>
            </ac:spMkLst>
          </pc:spChg>
          <pc:spChg chg="add del mod modVis">
            <ac:chgData name="Bernardo Lares" userId="c0b75bcc-c53b-4925-b19e-54b7afc94e15" providerId="ADAL" clId="{6E66F923-8F06-4A9C-8933-890757EFA546}" dt="2024-10-16T11:59:31.925" v="2609"/>
            <ac:spMkLst>
              <pc:docMk/>
              <pc:sldMasterMk cId="3442277182" sldId="2147483788"/>
              <pc:sldLayoutMk cId="2447763091" sldId="2147483825"/>
              <ac:spMk id="73" creationId="{C881CE91-B4A5-74A2-1C2D-E31AD463449E}"/>
            </ac:spMkLst>
          </pc:spChg>
          <pc:spChg chg="add del mod modVis">
            <ac:chgData name="Bernardo Lares" userId="c0b75bcc-c53b-4925-b19e-54b7afc94e15" providerId="ADAL" clId="{6E66F923-8F06-4A9C-8933-890757EFA546}" dt="2024-10-16T11:59:33.896" v="2854"/>
            <ac:spMkLst>
              <pc:docMk/>
              <pc:sldMasterMk cId="3442277182" sldId="2147483788"/>
              <pc:sldLayoutMk cId="2447763091" sldId="2147483825"/>
              <ac:spMk id="76" creationId="{4B5B0D2F-1741-E4B5-6673-67CDB3B45C77}"/>
            </ac:spMkLst>
          </pc:spChg>
          <pc:spChg chg="add del mod modVis">
            <ac:chgData name="Bernardo Lares" userId="c0b75bcc-c53b-4925-b19e-54b7afc94e15" providerId="ADAL" clId="{6E66F923-8F06-4A9C-8933-890757EFA546}" dt="2024-10-16T11:59:35.400" v="3099"/>
            <ac:spMkLst>
              <pc:docMk/>
              <pc:sldMasterMk cId="3442277182" sldId="2147483788"/>
              <pc:sldLayoutMk cId="2447763091" sldId="2147483825"/>
              <ac:spMk id="79" creationId="{0F77D5E4-B453-D0AD-7A9F-56C26E28BD67}"/>
            </ac:spMkLst>
          </pc:spChg>
          <pc:spChg chg="add del mod modVis">
            <ac:chgData name="Bernardo Lares" userId="c0b75bcc-c53b-4925-b19e-54b7afc94e15" providerId="ADAL" clId="{6E66F923-8F06-4A9C-8933-890757EFA546}" dt="2024-10-16T12:00:54.457" v="3521"/>
            <ac:spMkLst>
              <pc:docMk/>
              <pc:sldMasterMk cId="3442277182" sldId="2147483788"/>
              <pc:sldLayoutMk cId="2447763091" sldId="2147483825"/>
              <ac:spMk id="82" creationId="{7A554146-EE05-1C2A-5DE3-33ED76F0FC04}"/>
            </ac:spMkLst>
          </pc:spChg>
          <pc:graphicFrameChg chg="mod">
            <ac:chgData name="Bernardo Lares" userId="c0b75bcc-c53b-4925-b19e-54b7afc94e15" providerId="ADAL" clId="{6E66F923-8F06-4A9C-8933-890757EFA546}" dt="2024-10-31T14:20:44.072" v="6010"/>
            <ac:graphicFrameMkLst>
              <pc:docMk/>
              <pc:sldMasterMk cId="3442277182" sldId="2147483788"/>
              <pc:sldLayoutMk cId="2447763091" sldId="2147483825"/>
              <ac:graphicFrameMk id="7" creationId="{E5C8471B-83F4-81DE-6C65-42BBC31F091E}"/>
            </ac:graphicFrameMkLst>
          </pc:graphicFrameChg>
          <pc:graphicFrameChg chg="add del mod replST">
            <ac:chgData name="Bernardo Lares" userId="c0b75bcc-c53b-4925-b19e-54b7afc94e15" providerId="ADAL" clId="{6E66F923-8F06-4A9C-8933-890757EFA546}" dt="2024-10-16T11:54:43.093" v="1087"/>
            <ac:graphicFrameMkLst>
              <pc:docMk/>
              <pc:sldMasterMk cId="3442277182" sldId="2147483788"/>
              <pc:sldLayoutMk cId="2447763091" sldId="2147483825"/>
              <ac:graphicFrameMk id="8" creationId="{7EFD6EB1-8605-B6A5-8186-3984AE39E65B}"/>
            </ac:graphicFrameMkLst>
          </pc:graphicFrameChg>
          <pc:graphicFrameChg chg="add del mod replST">
            <ac:chgData name="Bernardo Lares" userId="c0b75bcc-c53b-4925-b19e-54b7afc94e15" providerId="ADAL" clId="{6E66F923-8F06-4A9C-8933-890757EFA546}" dt="2024-10-31T14:20:31.213" v="5357"/>
            <ac:graphicFrameMkLst>
              <pc:docMk/>
              <pc:sldMasterMk cId="3442277182" sldId="2147483788"/>
              <pc:sldLayoutMk cId="2447763091" sldId="2147483825"/>
              <ac:graphicFrameMk id="18" creationId="{693E3CCB-F256-7B9F-3D86-AC5023BCC651}"/>
            </ac:graphicFrameMkLst>
          </pc:graphicFrameChg>
          <pc:graphicFrameChg chg="add del mod replST">
            <ac:chgData name="Bernardo Lares" userId="c0b75bcc-c53b-4925-b19e-54b7afc94e15" providerId="ADAL" clId="{6E66F923-8F06-4A9C-8933-890757EFA546}" dt="2024-10-16T11:54:43.196" v="1148"/>
            <ac:graphicFrameMkLst>
              <pc:docMk/>
              <pc:sldMasterMk cId="3442277182" sldId="2147483788"/>
              <pc:sldLayoutMk cId="2447763091" sldId="2147483825"/>
              <ac:graphicFrameMk id="26" creationId="{AC910787-ABD9-95A5-E1AD-469DFC795BDE}"/>
            </ac:graphicFrameMkLst>
          </pc:graphicFrameChg>
          <pc:graphicFrameChg chg="add del mod replST">
            <ac:chgData name="Bernardo Lares" userId="c0b75bcc-c53b-4925-b19e-54b7afc94e15" providerId="ADAL" clId="{6E66F923-8F06-4A9C-8933-890757EFA546}" dt="2024-10-31T14:20:33.347" v="5491"/>
            <ac:graphicFrameMkLst>
              <pc:docMk/>
              <pc:sldMasterMk cId="3442277182" sldId="2147483788"/>
              <pc:sldLayoutMk cId="2447763091" sldId="2147483825"/>
              <ac:graphicFrameMk id="46" creationId="{89D2E32C-91AC-7005-0981-039AFEFFDF4B}"/>
            </ac:graphicFrameMkLst>
          </pc:graphicFrameChg>
          <pc:graphicFrameChg chg="add del mod replST">
            <ac:chgData name="Bernardo Lares" userId="c0b75bcc-c53b-4925-b19e-54b7afc94e15" providerId="ADAL" clId="{6E66F923-8F06-4A9C-8933-890757EFA546}" dt="2024-10-16T11:54:43.308" v="1239"/>
            <ac:graphicFrameMkLst>
              <pc:docMk/>
              <pc:sldMasterMk cId="3442277182" sldId="2147483788"/>
              <pc:sldLayoutMk cId="2447763091" sldId="2147483825"/>
              <ac:graphicFrameMk id="46" creationId="{E02CA3C0-491A-13D0-AF8E-E6729632149E}"/>
            </ac:graphicFrameMkLst>
          </pc:graphicFrameChg>
          <pc:graphicFrameChg chg="add del mod replST">
            <ac:chgData name="Bernardo Lares" userId="c0b75bcc-c53b-4925-b19e-54b7afc94e15" providerId="ADAL" clId="{6E66F923-8F06-4A9C-8933-890757EFA546}" dt="2024-10-31T14:20:35.366" v="5625"/>
            <ac:graphicFrameMkLst>
              <pc:docMk/>
              <pc:sldMasterMk cId="3442277182" sldId="2147483788"/>
              <pc:sldLayoutMk cId="2447763091" sldId="2147483825"/>
              <ac:graphicFrameMk id="59" creationId="{5484AB09-1485-BA8B-875C-DBAC6CFDFF3E}"/>
            </ac:graphicFrameMkLst>
          </pc:graphicFrameChg>
          <pc:graphicFrameChg chg="add del mod replST">
            <ac:chgData name="Bernardo Lares" userId="c0b75bcc-c53b-4925-b19e-54b7afc94e15" providerId="ADAL" clId="{6E66F923-8F06-4A9C-8933-890757EFA546}" dt="2024-10-16T11:55:48.604" v="1386"/>
            <ac:graphicFrameMkLst>
              <pc:docMk/>
              <pc:sldMasterMk cId="3442277182" sldId="2147483788"/>
              <pc:sldLayoutMk cId="2447763091" sldId="2147483825"/>
              <ac:graphicFrameMk id="59" creationId="{E0387095-E998-26D4-9690-2B0B50BE6A6E}"/>
            </ac:graphicFrameMkLst>
          </pc:graphicFrameChg>
          <pc:graphicFrameChg chg="add del mod replST">
            <ac:chgData name="Bernardo Lares" userId="c0b75bcc-c53b-4925-b19e-54b7afc94e15" providerId="ADAL" clId="{6E66F923-8F06-4A9C-8933-890757EFA546}" dt="2024-10-16T11:55:50.680" v="1626"/>
            <ac:graphicFrameMkLst>
              <pc:docMk/>
              <pc:sldMasterMk cId="3442277182" sldId="2147483788"/>
              <pc:sldLayoutMk cId="2447763091" sldId="2147483825"/>
              <ac:graphicFrameMk id="60" creationId="{B662A2EB-7E24-DBBD-904D-5E8C3D75018A}"/>
            </ac:graphicFrameMkLst>
          </pc:graphicFrameChg>
          <pc:graphicFrameChg chg="add del mod replST">
            <ac:chgData name="Bernardo Lares" userId="c0b75bcc-c53b-4925-b19e-54b7afc94e15" providerId="ADAL" clId="{6E66F923-8F06-4A9C-8933-890757EFA546}" dt="2024-10-16T11:58:57.541" v="2255"/>
            <ac:graphicFrameMkLst>
              <pc:docMk/>
              <pc:sldMasterMk cId="3442277182" sldId="2147483788"/>
              <pc:sldLayoutMk cId="2447763091" sldId="2147483825"/>
              <ac:graphicFrameMk id="61" creationId="{69D88697-3942-D8BF-395C-DCA633A75463}"/>
            </ac:graphicFrameMkLst>
          </pc:graphicFrameChg>
          <pc:graphicFrameChg chg="add del mod replST">
            <ac:chgData name="Bernardo Lares" userId="c0b75bcc-c53b-4925-b19e-54b7afc94e15" providerId="ADAL" clId="{6E66F923-8F06-4A9C-8933-890757EFA546}" dt="2024-10-31T14:20:39.868" v="5803"/>
            <ac:graphicFrameMkLst>
              <pc:docMk/>
              <pc:sldMasterMk cId="3442277182" sldId="2147483788"/>
              <pc:sldLayoutMk cId="2447763091" sldId="2147483825"/>
              <ac:graphicFrameMk id="61" creationId="{7FDD5527-7FBC-A2AC-26C7-E2E683A09210}"/>
            </ac:graphicFrameMkLst>
          </pc:graphicFrameChg>
          <pc:graphicFrameChg chg="add del mod replST">
            <ac:chgData name="Bernardo Lares" userId="c0b75bcc-c53b-4925-b19e-54b7afc94e15" providerId="ADAL" clId="{6E66F923-8F06-4A9C-8933-890757EFA546}" dt="2024-10-16T11:55:49.571" v="1496"/>
            <ac:graphicFrameMkLst>
              <pc:docMk/>
              <pc:sldMasterMk cId="3442277182" sldId="2147483788"/>
              <pc:sldLayoutMk cId="2447763091" sldId="2147483825"/>
              <ac:graphicFrameMk id="63" creationId="{50AC9311-9576-DEDF-DB08-08FAC607E380}"/>
            </ac:graphicFrameMkLst>
          </pc:graphicFrameChg>
          <pc:graphicFrameChg chg="add del mod replST">
            <ac:chgData name="Bernardo Lares" userId="c0b75bcc-c53b-4925-b19e-54b7afc94e15" providerId="ADAL" clId="{6E66F923-8F06-4A9C-8933-890757EFA546}" dt="2024-10-31T14:20:43.927" v="5919"/>
            <ac:graphicFrameMkLst>
              <pc:docMk/>
              <pc:sldMasterMk cId="3442277182" sldId="2147483788"/>
              <pc:sldLayoutMk cId="2447763091" sldId="2147483825"/>
              <ac:graphicFrameMk id="64" creationId="{45099D2A-9BE2-C14A-B461-C31B195EDE7D}"/>
            </ac:graphicFrameMkLst>
          </pc:graphicFrameChg>
          <pc:graphicFrameChg chg="add del mod replST">
            <ac:chgData name="Bernardo Lares" userId="c0b75bcc-c53b-4925-b19e-54b7afc94e15" providerId="ADAL" clId="{6E66F923-8F06-4A9C-8933-890757EFA546}" dt="2024-10-16T11:58:57.333" v="2069"/>
            <ac:graphicFrameMkLst>
              <pc:docMk/>
              <pc:sldMasterMk cId="3442277182" sldId="2147483788"/>
              <pc:sldLayoutMk cId="2447763091" sldId="2147483825"/>
              <ac:graphicFrameMk id="64" creationId="{53C1FC59-53F6-AC28-A106-A10F64F90ADC}"/>
            </ac:graphicFrameMkLst>
          </pc:graphicFrameChg>
          <pc:graphicFrameChg chg="add mod replST">
            <ac:chgData name="Bernardo Lares" userId="c0b75bcc-c53b-4925-b19e-54b7afc94e15" providerId="ADAL" clId="{6E66F923-8F06-4A9C-8933-890757EFA546}" dt="2024-10-31T14:20:44.060" v="5994"/>
            <ac:graphicFrameMkLst>
              <pc:docMk/>
              <pc:sldMasterMk cId="3442277182" sldId="2147483788"/>
              <pc:sldLayoutMk cId="2447763091" sldId="2147483825"/>
              <ac:graphicFrameMk id="65" creationId="{F791F933-3E25-F6C0-7546-2F21C7263703}"/>
            </ac:graphicFrameMkLst>
          </pc:graphicFrameChg>
          <pc:graphicFrameChg chg="add del mod replST">
            <ac:chgData name="Bernardo Lares" userId="c0b75bcc-c53b-4925-b19e-54b7afc94e15" providerId="ADAL" clId="{6E66F923-8F06-4A9C-8933-890757EFA546}" dt="2024-10-16T11:55:51.639" v="1736"/>
            <ac:graphicFrameMkLst>
              <pc:docMk/>
              <pc:sldMasterMk cId="3442277182" sldId="2147483788"/>
              <pc:sldLayoutMk cId="2447763091" sldId="2147483825"/>
              <ac:graphicFrameMk id="66" creationId="{7C84A78A-0ACB-31B5-B02C-91E0343B7BE6}"/>
            </ac:graphicFrameMkLst>
          </pc:graphicFrameChg>
          <pc:graphicFrameChg chg="add del mod replST">
            <ac:chgData name="Bernardo Lares" userId="c0b75bcc-c53b-4925-b19e-54b7afc94e15" providerId="ADAL" clId="{6E66F923-8F06-4A9C-8933-890757EFA546}" dt="2024-10-16T11:58:57.427" v="2143"/>
            <ac:graphicFrameMkLst>
              <pc:docMk/>
              <pc:sldMasterMk cId="3442277182" sldId="2147483788"/>
              <pc:sldLayoutMk cId="2447763091" sldId="2147483825"/>
              <ac:graphicFrameMk id="67" creationId="{63A938A3-49FC-27B0-018C-A6CB0A7BAC69}"/>
            </ac:graphicFrameMkLst>
          </pc:graphicFrameChg>
          <pc:graphicFrameChg chg="add del mod replST">
            <ac:chgData name="Bernardo Lares" userId="c0b75bcc-c53b-4925-b19e-54b7afc94e15" providerId="ADAL" clId="{6E66F923-8F06-4A9C-8933-890757EFA546}" dt="2024-10-16T12:01:32.810" v="4789"/>
            <ac:graphicFrameMkLst>
              <pc:docMk/>
              <pc:sldMasterMk cId="3442277182" sldId="2147483788"/>
              <pc:sldLayoutMk cId="2447763091" sldId="2147483825"/>
              <ac:graphicFrameMk id="69" creationId="{63D488BC-45CF-2A39-D126-192DE9FC4428}"/>
            </ac:graphicFrameMkLst>
          </pc:graphicFrameChg>
          <pc:graphicFrameChg chg="add del mod replST">
            <ac:chgData name="Bernardo Lares" userId="c0b75bcc-c53b-4925-b19e-54b7afc94e15" providerId="ADAL" clId="{6E66F923-8F06-4A9C-8933-890757EFA546}" dt="2024-10-16T12:01:35.850" v="4902"/>
            <ac:graphicFrameMkLst>
              <pc:docMk/>
              <pc:sldMasterMk cId="3442277182" sldId="2147483788"/>
              <pc:sldLayoutMk cId="2447763091" sldId="2147483825"/>
              <ac:graphicFrameMk id="70" creationId="{122DEF6B-7CE3-8188-06D2-25B5FBE934CD}"/>
            </ac:graphicFrameMkLst>
          </pc:graphicFrameChg>
          <pc:graphicFrameChg chg="add del mod replST">
            <ac:chgData name="Bernardo Lares" userId="c0b75bcc-c53b-4925-b19e-54b7afc94e15" providerId="ADAL" clId="{6E66F923-8F06-4A9C-8933-890757EFA546}" dt="2024-10-16T11:59:26.555" v="2386"/>
            <ac:graphicFrameMkLst>
              <pc:docMk/>
              <pc:sldMasterMk cId="3442277182" sldId="2147483788"/>
              <pc:sldLayoutMk cId="2447763091" sldId="2147483825"/>
              <ac:graphicFrameMk id="71" creationId="{69706A89-AA9B-D9D7-C0E1-E45D38ED714D}"/>
            </ac:graphicFrameMkLst>
          </pc:graphicFrameChg>
          <pc:graphicFrameChg chg="add del mod replST">
            <ac:chgData name="Bernardo Lares" userId="c0b75bcc-c53b-4925-b19e-54b7afc94e15" providerId="ADAL" clId="{6E66F923-8F06-4A9C-8933-890757EFA546}" dt="2024-10-16T11:59:31.853" v="2518"/>
            <ac:graphicFrameMkLst>
              <pc:docMk/>
              <pc:sldMasterMk cId="3442277182" sldId="2147483788"/>
              <pc:sldLayoutMk cId="2447763091" sldId="2147483825"/>
              <ac:graphicFrameMk id="72" creationId="{E65BEEAF-CB84-14BE-8F98-F0BBC5C9C704}"/>
            </ac:graphicFrameMkLst>
          </pc:graphicFrameChg>
          <pc:graphicFrameChg chg="add del mod replST">
            <ac:chgData name="Bernardo Lares" userId="c0b75bcc-c53b-4925-b19e-54b7afc94e15" providerId="ADAL" clId="{6E66F923-8F06-4A9C-8933-890757EFA546}" dt="2024-10-16T11:59:32.745" v="2631"/>
            <ac:graphicFrameMkLst>
              <pc:docMk/>
              <pc:sldMasterMk cId="3442277182" sldId="2147483788"/>
              <pc:sldLayoutMk cId="2447763091" sldId="2147483825"/>
              <ac:graphicFrameMk id="74" creationId="{2DE58530-E017-DAE8-B2E2-1FB0C566FE89}"/>
            </ac:graphicFrameMkLst>
          </pc:graphicFrameChg>
          <pc:graphicFrameChg chg="add del mod replST">
            <ac:chgData name="Bernardo Lares" userId="c0b75bcc-c53b-4925-b19e-54b7afc94e15" providerId="ADAL" clId="{6E66F923-8F06-4A9C-8933-890757EFA546}" dt="2024-10-16T11:59:33.825" v="2763"/>
            <ac:graphicFrameMkLst>
              <pc:docMk/>
              <pc:sldMasterMk cId="3442277182" sldId="2147483788"/>
              <pc:sldLayoutMk cId="2447763091" sldId="2147483825"/>
              <ac:graphicFrameMk id="75" creationId="{B5944976-1AF1-6F8D-CC2B-3A1F93090109}"/>
            </ac:graphicFrameMkLst>
          </pc:graphicFrameChg>
          <pc:graphicFrameChg chg="add del mod replST">
            <ac:chgData name="Bernardo Lares" userId="c0b75bcc-c53b-4925-b19e-54b7afc94e15" providerId="ADAL" clId="{6E66F923-8F06-4A9C-8933-890757EFA546}" dt="2024-10-16T11:59:34.606" v="2876"/>
            <ac:graphicFrameMkLst>
              <pc:docMk/>
              <pc:sldMasterMk cId="3442277182" sldId="2147483788"/>
              <pc:sldLayoutMk cId="2447763091" sldId="2147483825"/>
              <ac:graphicFrameMk id="77" creationId="{EE28ADEE-2D53-4CAB-DBCC-2159519FFBBF}"/>
            </ac:graphicFrameMkLst>
          </pc:graphicFrameChg>
          <pc:graphicFrameChg chg="add del mod replST">
            <ac:chgData name="Bernardo Lares" userId="c0b75bcc-c53b-4925-b19e-54b7afc94e15" providerId="ADAL" clId="{6E66F923-8F06-4A9C-8933-890757EFA546}" dt="2024-10-16T11:59:35.331" v="3008"/>
            <ac:graphicFrameMkLst>
              <pc:docMk/>
              <pc:sldMasterMk cId="3442277182" sldId="2147483788"/>
              <pc:sldLayoutMk cId="2447763091" sldId="2147483825"/>
              <ac:graphicFrameMk id="78" creationId="{C8EB3483-7F57-A242-BAFF-3BA04EA94357}"/>
            </ac:graphicFrameMkLst>
          </pc:graphicFrameChg>
          <pc:graphicFrameChg chg="add del mod replST">
            <ac:chgData name="Bernardo Lares" userId="c0b75bcc-c53b-4925-b19e-54b7afc94e15" providerId="ADAL" clId="{6E66F923-8F06-4A9C-8933-890757EFA546}" dt="2024-10-16T11:59:36.524" v="3121"/>
            <ac:graphicFrameMkLst>
              <pc:docMk/>
              <pc:sldMasterMk cId="3442277182" sldId="2147483788"/>
              <pc:sldLayoutMk cId="2447763091" sldId="2147483825"/>
              <ac:graphicFrameMk id="80" creationId="{037387AD-5794-E51D-CB45-5C0A86E4CD67}"/>
            </ac:graphicFrameMkLst>
          </pc:graphicFrameChg>
          <pc:graphicFrameChg chg="add del mod replST">
            <ac:chgData name="Bernardo Lares" userId="c0b75bcc-c53b-4925-b19e-54b7afc94e15" providerId="ADAL" clId="{6E66F923-8F06-4A9C-8933-890757EFA546}" dt="2024-10-16T12:00:54.391" v="3430"/>
            <ac:graphicFrameMkLst>
              <pc:docMk/>
              <pc:sldMasterMk cId="3442277182" sldId="2147483788"/>
              <pc:sldLayoutMk cId="2447763091" sldId="2147483825"/>
              <ac:graphicFrameMk id="81" creationId="{6AF2C5B8-22E5-24BB-3E8E-0E9767BD0867}"/>
            </ac:graphicFrameMkLst>
          </pc:graphicFrameChg>
          <pc:graphicFrameChg chg="add del mod replST">
            <ac:chgData name="Bernardo Lares" userId="c0b75bcc-c53b-4925-b19e-54b7afc94e15" providerId="ADAL" clId="{6E66F923-8F06-4A9C-8933-890757EFA546}" dt="2024-10-16T12:00:55.914" v="3543"/>
            <ac:graphicFrameMkLst>
              <pc:docMk/>
              <pc:sldMasterMk cId="3442277182" sldId="2147483788"/>
              <pc:sldLayoutMk cId="2447763091" sldId="2147483825"/>
              <ac:graphicFrameMk id="83" creationId="{C6536DEE-E6ED-A10A-035C-9A5ACB66C8C2}"/>
            </ac:graphicFrameMkLst>
          </pc:graphicFrameChg>
          <pc:graphicFrameChg chg="add del mod replST">
            <ac:chgData name="Bernardo Lares" userId="c0b75bcc-c53b-4925-b19e-54b7afc94e15" providerId="ADAL" clId="{6E66F923-8F06-4A9C-8933-890757EFA546}" dt="2024-10-16T12:00:56.984" v="3657"/>
            <ac:graphicFrameMkLst>
              <pc:docMk/>
              <pc:sldMasterMk cId="3442277182" sldId="2147483788"/>
              <pc:sldLayoutMk cId="2447763091" sldId="2147483825"/>
              <ac:graphicFrameMk id="84" creationId="{371477AB-7600-D759-7D05-3AD95EF21C42}"/>
            </ac:graphicFrameMkLst>
          </pc:graphicFrameChg>
          <pc:graphicFrameChg chg="add del mod replST">
            <ac:chgData name="Bernardo Lares" userId="c0b75bcc-c53b-4925-b19e-54b7afc94e15" providerId="ADAL" clId="{6E66F923-8F06-4A9C-8933-890757EFA546}" dt="2024-10-16T12:00:58.848" v="3771"/>
            <ac:graphicFrameMkLst>
              <pc:docMk/>
              <pc:sldMasterMk cId="3442277182" sldId="2147483788"/>
              <pc:sldLayoutMk cId="2447763091" sldId="2147483825"/>
              <ac:graphicFrameMk id="85" creationId="{1640296C-A033-9836-27D9-0B1E31C1312C}"/>
            </ac:graphicFrameMkLst>
          </pc:graphicFrameChg>
          <pc:graphicFrameChg chg="add del mod replST">
            <ac:chgData name="Bernardo Lares" userId="c0b75bcc-c53b-4925-b19e-54b7afc94e15" providerId="ADAL" clId="{6E66F923-8F06-4A9C-8933-890757EFA546}" dt="2024-10-16T12:01:00.087" v="3887"/>
            <ac:graphicFrameMkLst>
              <pc:docMk/>
              <pc:sldMasterMk cId="3442277182" sldId="2147483788"/>
              <pc:sldLayoutMk cId="2447763091" sldId="2147483825"/>
              <ac:graphicFrameMk id="86" creationId="{33ADAD78-AC2D-08E1-8867-9018384190C5}"/>
            </ac:graphicFrameMkLst>
          </pc:graphicFrameChg>
          <pc:graphicFrameChg chg="add del mod replST">
            <ac:chgData name="Bernardo Lares" userId="c0b75bcc-c53b-4925-b19e-54b7afc94e15" providerId="ADAL" clId="{6E66F923-8F06-4A9C-8933-890757EFA546}" dt="2024-10-16T12:01:01.806" v="3998"/>
            <ac:graphicFrameMkLst>
              <pc:docMk/>
              <pc:sldMasterMk cId="3442277182" sldId="2147483788"/>
              <pc:sldLayoutMk cId="2447763091" sldId="2147483825"/>
              <ac:graphicFrameMk id="87" creationId="{19A929BD-CB53-58A7-1BAA-D06815BE027A}"/>
            </ac:graphicFrameMkLst>
          </pc:graphicFrameChg>
          <pc:graphicFrameChg chg="add del mod replST">
            <ac:chgData name="Bernardo Lares" userId="c0b75bcc-c53b-4925-b19e-54b7afc94e15" providerId="ADAL" clId="{6E66F923-8F06-4A9C-8933-890757EFA546}" dt="2024-10-16T12:01:02.616" v="4112"/>
            <ac:graphicFrameMkLst>
              <pc:docMk/>
              <pc:sldMasterMk cId="3442277182" sldId="2147483788"/>
              <pc:sldLayoutMk cId="2447763091" sldId="2147483825"/>
              <ac:graphicFrameMk id="88" creationId="{66F11DAC-4430-83D2-77F7-914C04273D36}"/>
            </ac:graphicFrameMkLst>
          </pc:graphicFrameChg>
          <pc:graphicFrameChg chg="add del mod replST">
            <ac:chgData name="Bernardo Lares" userId="c0b75bcc-c53b-4925-b19e-54b7afc94e15" providerId="ADAL" clId="{6E66F923-8F06-4A9C-8933-890757EFA546}" dt="2024-10-16T12:01:03.531" v="4227"/>
            <ac:graphicFrameMkLst>
              <pc:docMk/>
              <pc:sldMasterMk cId="3442277182" sldId="2147483788"/>
              <pc:sldLayoutMk cId="2447763091" sldId="2147483825"/>
              <ac:graphicFrameMk id="89" creationId="{AEDBDF58-B1DF-C19E-4DA1-95E0DAF855CA}"/>
            </ac:graphicFrameMkLst>
          </pc:graphicFrameChg>
          <pc:graphicFrameChg chg="add del mod replST">
            <ac:chgData name="Bernardo Lares" userId="c0b75bcc-c53b-4925-b19e-54b7afc94e15" providerId="ADAL" clId="{6E66F923-8F06-4A9C-8933-890757EFA546}" dt="2024-10-16T12:01:05.070" v="4338"/>
            <ac:graphicFrameMkLst>
              <pc:docMk/>
              <pc:sldMasterMk cId="3442277182" sldId="2147483788"/>
              <pc:sldLayoutMk cId="2447763091" sldId="2147483825"/>
              <ac:graphicFrameMk id="90" creationId="{6B89D1B5-9B98-AC3A-CFDF-5FA1D861D36A}"/>
            </ac:graphicFrameMkLst>
          </pc:graphicFrameChg>
          <pc:graphicFrameChg chg="add del mod replST">
            <ac:chgData name="Bernardo Lares" userId="c0b75bcc-c53b-4925-b19e-54b7afc94e15" providerId="ADAL" clId="{6E66F923-8F06-4A9C-8933-890757EFA546}" dt="2024-10-16T12:01:06.160" v="4449"/>
            <ac:graphicFrameMkLst>
              <pc:docMk/>
              <pc:sldMasterMk cId="3442277182" sldId="2147483788"/>
              <pc:sldLayoutMk cId="2447763091" sldId="2147483825"/>
              <ac:graphicFrameMk id="91" creationId="{5C9ACC3C-6AF6-3D83-6E21-18ADFECB6C67}"/>
            </ac:graphicFrameMkLst>
          </pc:graphicFrameChg>
          <pc:graphicFrameChg chg="add del mod replST">
            <ac:chgData name="Bernardo Lares" userId="c0b75bcc-c53b-4925-b19e-54b7afc94e15" providerId="ADAL" clId="{6E66F923-8F06-4A9C-8933-890757EFA546}" dt="2024-10-16T12:01:08.784" v="4566"/>
            <ac:graphicFrameMkLst>
              <pc:docMk/>
              <pc:sldMasterMk cId="3442277182" sldId="2147483788"/>
              <pc:sldLayoutMk cId="2447763091" sldId="2147483825"/>
              <ac:graphicFrameMk id="92" creationId="{8FEA726B-6ECD-F67C-40C4-09C3E5576E31}"/>
            </ac:graphicFrameMkLst>
          </pc:graphicFrameChg>
          <pc:graphicFrameChg chg="add del mod replST">
            <ac:chgData name="Bernardo Lares" userId="c0b75bcc-c53b-4925-b19e-54b7afc94e15" providerId="ADAL" clId="{6E66F923-8F06-4A9C-8933-890757EFA546}" dt="2024-10-16T12:01:10.268" v="4677"/>
            <ac:graphicFrameMkLst>
              <pc:docMk/>
              <pc:sldMasterMk cId="3442277182" sldId="2147483788"/>
              <pc:sldLayoutMk cId="2447763091" sldId="2147483825"/>
              <ac:graphicFrameMk id="93" creationId="{23C9A599-B823-03D4-9E1C-AAB37FA4FD7A}"/>
            </ac:graphicFrameMkLst>
          </pc:graphicFrameChg>
          <pc:graphicFrameChg chg="add del mod replST">
            <ac:chgData name="Bernardo Lares" userId="c0b75bcc-c53b-4925-b19e-54b7afc94e15" providerId="ADAL" clId="{6E66F923-8F06-4A9C-8933-890757EFA546}" dt="2024-10-31T14:20:28.388" v="5221"/>
            <ac:graphicFrameMkLst>
              <pc:docMk/>
              <pc:sldMasterMk cId="3442277182" sldId="2147483788"/>
              <pc:sldLayoutMk cId="2447763091" sldId="2147483825"/>
              <ac:graphicFrameMk id="94" creationId="{9CF8C16F-AB37-46F4-093E-0378C2DB027F}"/>
            </ac:graphicFrameMkLst>
          </pc:graphicFrameChg>
          <pc:graphicFrameChg chg="add mod replST">
            <ac:chgData name="Bernardo Lares" userId="c0b75bcc-c53b-4925-b19e-54b7afc94e15" providerId="ADAL" clId="{6E66F923-8F06-4A9C-8933-890757EFA546}" dt="2024-10-31T14:20:44.024" v="5944"/>
            <ac:graphicFrameMkLst>
              <pc:docMk/>
              <pc:sldMasterMk cId="3442277182" sldId="2147483788"/>
              <pc:sldLayoutMk cId="2447763091" sldId="2147483825"/>
              <ac:graphicFrameMk id="95" creationId="{7CAF3FC9-DBEE-D1FB-5279-604DFF086FDF}"/>
            </ac:graphicFrameMkLst>
          </pc:graphicFrameChg>
          <pc:graphicFrameChg chg="add mod replST">
            <ac:chgData name="Bernardo Lares" userId="c0b75bcc-c53b-4925-b19e-54b7afc94e15" providerId="ADAL" clId="{6E66F923-8F06-4A9C-8933-890757EFA546}" dt="2024-10-31T14:20:44.039" v="5963"/>
            <ac:graphicFrameMkLst>
              <pc:docMk/>
              <pc:sldMasterMk cId="3442277182" sldId="2147483788"/>
              <pc:sldLayoutMk cId="2447763091" sldId="2147483825"/>
              <ac:graphicFrameMk id="96" creationId="{63162573-3E93-CA2D-06E3-06ABCEABDF61}"/>
            </ac:graphicFrameMkLst>
          </pc:graphicFrameChg>
          <pc:cxnChg chg="add mod ord replST">
            <ac:chgData name="Bernardo Lares" userId="c0b75bcc-c53b-4925-b19e-54b7afc94e15" providerId="ADAL" clId="{6E66F923-8F06-4A9C-8933-890757EFA546}" dt="2024-10-31T14:20:44.039" v="5965"/>
            <ac:cxnSpMkLst>
              <pc:docMk/>
              <pc:sldMasterMk cId="3442277182" sldId="2147483788"/>
              <pc:sldLayoutMk cId="2447763091" sldId="2147483825"/>
              <ac:cxnSpMk id="27" creationId="{D03F957C-E2DD-628E-C4D6-933FD86501B5}"/>
            </ac:cxnSpMkLst>
          </pc:cxnChg>
        </pc:sldLayoutChg>
      </pc:sldMasterChg>
    </pc:docChg>
  </pc:docChgLst>
  <pc:docChgLst>
    <pc:chgData name="Bernardo Lares" userId="c0b75bcc-c53b-4925-b19e-54b7afc94e15" providerId="ADAL" clId="{5D663954-B5D6-4A6B-BD90-84B404206790}"/>
    <pc:docChg chg="custSel modSld modMainMaster">
      <pc:chgData name="Bernardo Lares" userId="c0b75bcc-c53b-4925-b19e-54b7afc94e15" providerId="ADAL" clId="{5D663954-B5D6-4A6B-BD90-84B404206790}" dt="2024-11-19T08:13:16.320" v="338"/>
      <pc:docMkLst>
        <pc:docMk/>
      </pc:docMkLst>
      <pc:sldChg chg="addSp delSp modSp mod modNotesTx">
        <pc:chgData name="Bernardo Lares" userId="c0b75bcc-c53b-4925-b19e-54b7afc94e15" providerId="ADAL" clId="{5D663954-B5D6-4A6B-BD90-84B404206790}" dt="2024-11-19T08:12:36.683" v="336" actId="20577"/>
        <pc:sldMkLst>
          <pc:docMk/>
          <pc:sldMk cId="3161060149" sldId="283"/>
        </pc:sldMkLst>
        <pc:spChg chg="add del mod modVis">
          <ac:chgData name="Bernardo Lares" userId="c0b75bcc-c53b-4925-b19e-54b7afc94e15" providerId="ADAL" clId="{5D663954-B5D6-4A6B-BD90-84B404206790}" dt="2024-11-19T08:10:15.175" v="320"/>
          <ac:spMkLst>
            <pc:docMk/>
            <pc:sldMk cId="3161060149" sldId="283"/>
            <ac:spMk id="2" creationId="{560699C7-B07E-3285-B958-2268BA78B696}"/>
          </ac:spMkLst>
        </pc:spChg>
        <pc:spChg chg="mod ord">
          <ac:chgData name="Bernardo Lares" userId="c0b75bcc-c53b-4925-b19e-54b7afc94e15" providerId="ADAL" clId="{5D663954-B5D6-4A6B-BD90-84B404206790}" dt="2024-11-19T08:10:15.113" v="256"/>
          <ac:spMkLst>
            <pc:docMk/>
            <pc:sldMk cId="3161060149" sldId="283"/>
            <ac:spMk id="3" creationId="{00000000-0000-0000-0000-000000000000}"/>
          </ac:spMkLst>
        </pc:spChg>
        <pc:spChg chg="mod ord">
          <ac:chgData name="Bernardo Lares" userId="c0b75bcc-c53b-4925-b19e-54b7afc94e15" providerId="ADAL" clId="{5D663954-B5D6-4A6B-BD90-84B404206790}" dt="2024-11-19T08:10:15.117" v="262"/>
          <ac:spMkLst>
            <pc:docMk/>
            <pc:sldMk cId="3161060149" sldId="283"/>
            <ac:spMk id="4" creationId="{D4B68D1F-5548-F9C8-ED71-564FB829E526}"/>
          </ac:spMkLst>
        </pc:spChg>
        <pc:spChg chg="add mod ord replST">
          <ac:chgData name="Bernardo Lares" userId="c0b75bcc-c53b-4925-b19e-54b7afc94e15" providerId="ADAL" clId="{5D663954-B5D6-4A6B-BD90-84B404206790}" dt="2024-11-19T08:10:15.120" v="267"/>
          <ac:spMkLst>
            <pc:docMk/>
            <pc:sldMk cId="3161060149" sldId="283"/>
            <ac:spMk id="5" creationId="{7C671AF5-7FC3-E55A-B1FD-AB8D432FE461}"/>
          </ac:spMkLst>
        </pc:spChg>
        <pc:spChg chg="add mod ord replST">
          <ac:chgData name="Bernardo Lares" userId="c0b75bcc-c53b-4925-b19e-54b7afc94e15" providerId="ADAL" clId="{5D663954-B5D6-4A6B-BD90-84B404206790}" dt="2024-11-19T08:10:15.122" v="269"/>
          <ac:spMkLst>
            <pc:docMk/>
            <pc:sldMk cId="3161060149" sldId="283"/>
            <ac:spMk id="6" creationId="{1740EF09-7F0A-96BC-3A5E-5F6ECAF62417}"/>
          </ac:spMkLst>
        </pc:spChg>
        <pc:spChg chg="mod ord">
          <ac:chgData name="Bernardo Lares" userId="c0b75bcc-c53b-4925-b19e-54b7afc94e15" providerId="ADAL" clId="{5D663954-B5D6-4A6B-BD90-84B404206790}" dt="2024-11-19T08:10:15.114" v="258"/>
          <ac:spMkLst>
            <pc:docMk/>
            <pc:sldMk cId="3161060149" sldId="283"/>
            <ac:spMk id="8" creationId="{63885400-315D-4811-9651-1D38F4ACCA13}"/>
          </ac:spMkLst>
        </pc:spChg>
        <pc:spChg chg="add mod ord replST">
          <ac:chgData name="Bernardo Lares" userId="c0b75bcc-c53b-4925-b19e-54b7afc94e15" providerId="ADAL" clId="{5D663954-B5D6-4A6B-BD90-84B404206790}" dt="2024-11-19T08:10:15.119" v="265"/>
          <ac:spMkLst>
            <pc:docMk/>
            <pc:sldMk cId="3161060149" sldId="283"/>
            <ac:spMk id="9" creationId="{8D7F301B-2B85-7D8C-4A28-D23DF4714F31}"/>
          </ac:spMkLst>
        </pc:spChg>
        <pc:spChg chg="mod">
          <ac:chgData name="Bernardo Lares" userId="c0b75bcc-c53b-4925-b19e-54b7afc94e15" providerId="ADAL" clId="{5D663954-B5D6-4A6B-BD90-84B404206790}" dt="2024-11-19T08:10:15.160" v="305"/>
          <ac:spMkLst>
            <pc:docMk/>
            <pc:sldMk cId="3161060149" sldId="283"/>
            <ac:spMk id="20" creationId="{88B5B340-0080-0BAC-F680-DFDB66383CC5}"/>
          </ac:spMkLst>
        </pc:spChg>
        <pc:spChg chg="mod ord">
          <ac:chgData name="Bernardo Lares" userId="c0b75bcc-c53b-4925-b19e-54b7afc94e15" providerId="ADAL" clId="{5D663954-B5D6-4A6B-BD90-84B404206790}" dt="2024-11-19T08:10:15.173" v="318"/>
          <ac:spMkLst>
            <pc:docMk/>
            <pc:sldMk cId="3161060149" sldId="283"/>
            <ac:spMk id="25" creationId="{451FB9F7-C8D0-E598-A9CA-AFF3491E4920}"/>
          </ac:spMkLst>
        </pc:spChg>
        <pc:spChg chg="mod">
          <ac:chgData name="Bernardo Lares" userId="c0b75bcc-c53b-4925-b19e-54b7afc94e15" providerId="ADAL" clId="{5D663954-B5D6-4A6B-BD90-84B404206790}" dt="2024-11-19T08:10:15.125" v="271"/>
          <ac:spMkLst>
            <pc:docMk/>
            <pc:sldMk cId="3161060149" sldId="283"/>
            <ac:spMk id="27" creationId="{BBC2AD35-7761-4742-BEF1-3D0CAD2E1DED}"/>
          </ac:spMkLst>
        </pc:spChg>
        <pc:spChg chg="mod">
          <ac:chgData name="Bernardo Lares" userId="c0b75bcc-c53b-4925-b19e-54b7afc94e15" providerId="ADAL" clId="{5D663954-B5D6-4A6B-BD90-84B404206790}" dt="2024-11-19T08:10:15.164" v="308"/>
          <ac:spMkLst>
            <pc:docMk/>
            <pc:sldMk cId="3161060149" sldId="283"/>
            <ac:spMk id="30" creationId="{AEAC2A66-CE4D-98A5-AB87-1DA8E6F0343C}"/>
          </ac:spMkLst>
        </pc:spChg>
        <pc:spChg chg="del">
          <ac:chgData name="Bernardo Lares" userId="c0b75bcc-c53b-4925-b19e-54b7afc94e15" providerId="ADAL" clId="{5D663954-B5D6-4A6B-BD90-84B404206790}" dt="2024-11-19T08:10:14.297" v="71"/>
          <ac:spMkLst>
            <pc:docMk/>
            <pc:sldMk cId="3161060149" sldId="283"/>
            <ac:spMk id="32" creationId="{996FFF02-1283-B9CA-3567-4BC2D7FBF4A8}"/>
          </ac:spMkLst>
        </pc:spChg>
        <pc:spChg chg="del">
          <ac:chgData name="Bernardo Lares" userId="c0b75bcc-c53b-4925-b19e-54b7afc94e15" providerId="ADAL" clId="{5D663954-B5D6-4A6B-BD90-84B404206790}" dt="2024-11-19T08:10:14.323" v="87"/>
          <ac:spMkLst>
            <pc:docMk/>
            <pc:sldMk cId="3161060149" sldId="283"/>
            <ac:spMk id="33" creationId="{B0A5B5AB-839A-DA09-F3BE-4E18FBE6E83D}"/>
          </ac:spMkLst>
        </pc:spChg>
        <pc:spChg chg="mod">
          <ac:chgData name="Bernardo Lares" userId="c0b75bcc-c53b-4925-b19e-54b7afc94e15" providerId="ADAL" clId="{5D663954-B5D6-4A6B-BD90-84B404206790}" dt="2024-11-19T08:10:15.127" v="272"/>
          <ac:spMkLst>
            <pc:docMk/>
            <pc:sldMk cId="3161060149" sldId="283"/>
            <ac:spMk id="35" creationId="{BBC2AD35-7761-4742-BEF1-3D0CAD2E1DED}"/>
          </ac:spMkLst>
        </pc:spChg>
        <pc:spChg chg="mod">
          <ac:chgData name="Bernardo Lares" userId="c0b75bcc-c53b-4925-b19e-54b7afc94e15" providerId="ADAL" clId="{5D663954-B5D6-4A6B-BD90-84B404206790}" dt="2024-11-19T08:10:15.133" v="278"/>
          <ac:spMkLst>
            <pc:docMk/>
            <pc:sldMk cId="3161060149" sldId="283"/>
            <ac:spMk id="52" creationId="{4210F079-1208-E46E-FEBE-A672BB9786AF}"/>
          </ac:spMkLst>
        </pc:spChg>
        <pc:spChg chg="mod">
          <ac:chgData name="Bernardo Lares" userId="c0b75bcc-c53b-4925-b19e-54b7afc94e15" providerId="ADAL" clId="{5D663954-B5D6-4A6B-BD90-84B404206790}" dt="2024-11-19T08:10:15.131" v="277"/>
          <ac:spMkLst>
            <pc:docMk/>
            <pc:sldMk cId="3161060149" sldId="283"/>
            <ac:spMk id="64" creationId="{5C8F38DA-E59F-2F12-6F9D-5AA8CF44C3A4}"/>
          </ac:spMkLst>
        </pc:spChg>
        <pc:spChg chg="mod">
          <ac:chgData name="Bernardo Lares" userId="c0b75bcc-c53b-4925-b19e-54b7afc94e15" providerId="ADAL" clId="{5D663954-B5D6-4A6B-BD90-84B404206790}" dt="2024-11-19T08:10:15.123" v="270"/>
          <ac:spMkLst>
            <pc:docMk/>
            <pc:sldMk cId="3161060149" sldId="283"/>
            <ac:spMk id="70" creationId="{BBC2AD35-7761-4742-BEF1-3D0CAD2E1DED}"/>
          </ac:spMkLst>
        </pc:spChg>
        <pc:spChg chg="mod">
          <ac:chgData name="Bernardo Lares" userId="c0b75bcc-c53b-4925-b19e-54b7afc94e15" providerId="ADAL" clId="{5D663954-B5D6-4A6B-BD90-84B404206790}" dt="2024-11-19T08:10:15.144" v="290"/>
          <ac:spMkLst>
            <pc:docMk/>
            <pc:sldMk cId="3161060149" sldId="283"/>
            <ac:spMk id="88" creationId="{D9A83A65-47ED-779D-0471-183D1C15E1C2}"/>
          </ac:spMkLst>
        </pc:spChg>
        <pc:spChg chg="mod ord">
          <ac:chgData name="Bernardo Lares" userId="c0b75bcc-c53b-4925-b19e-54b7afc94e15" providerId="ADAL" clId="{5D663954-B5D6-4A6B-BD90-84B404206790}" dt="2024-11-19T08:10:15.138" v="283"/>
          <ac:spMkLst>
            <pc:docMk/>
            <pc:sldMk cId="3161060149" sldId="283"/>
            <ac:spMk id="92" creationId="{7332F456-9ABE-1FA6-D356-49727F594A9D}"/>
          </ac:spMkLst>
        </pc:spChg>
        <pc:spChg chg="mod">
          <ac:chgData name="Bernardo Lares" userId="c0b75bcc-c53b-4925-b19e-54b7afc94e15" providerId="ADAL" clId="{5D663954-B5D6-4A6B-BD90-84B404206790}" dt="2024-11-19T08:10:15.136" v="280"/>
          <ac:spMkLst>
            <pc:docMk/>
            <pc:sldMk cId="3161060149" sldId="283"/>
            <ac:spMk id="106" creationId="{D6826D97-B1B9-87AE-50E2-51394238B813}"/>
          </ac:spMkLst>
        </pc:spChg>
        <pc:spChg chg="mod">
          <ac:chgData name="Bernardo Lares" userId="c0b75bcc-c53b-4925-b19e-54b7afc94e15" providerId="ADAL" clId="{5D663954-B5D6-4A6B-BD90-84B404206790}" dt="2024-11-19T08:10:15.137" v="281"/>
          <ac:spMkLst>
            <pc:docMk/>
            <pc:sldMk cId="3161060149" sldId="283"/>
            <ac:spMk id="107" creationId="{120C7C1C-E0DC-0774-2A67-27B9F6535D60}"/>
          </ac:spMkLst>
        </pc:spChg>
        <pc:spChg chg="mod ord">
          <ac:chgData name="Bernardo Lares" userId="c0b75bcc-c53b-4925-b19e-54b7afc94e15" providerId="ADAL" clId="{5D663954-B5D6-4A6B-BD90-84B404206790}" dt="2024-11-19T08:10:15.140" v="285"/>
          <ac:spMkLst>
            <pc:docMk/>
            <pc:sldMk cId="3161060149" sldId="283"/>
            <ac:spMk id="113" creationId="{CB2B120B-4300-98B2-AEE4-06E3F959BAAE}"/>
          </ac:spMkLst>
        </pc:spChg>
        <pc:spChg chg="mod ord">
          <ac:chgData name="Bernardo Lares" userId="c0b75bcc-c53b-4925-b19e-54b7afc94e15" providerId="ADAL" clId="{5D663954-B5D6-4A6B-BD90-84B404206790}" dt="2024-11-19T08:10:15.129" v="274"/>
          <ac:spMkLst>
            <pc:docMk/>
            <pc:sldMk cId="3161060149" sldId="283"/>
            <ac:spMk id="114" creationId="{85116011-0871-94FF-190F-049C8312938C}"/>
          </ac:spMkLst>
        </pc:spChg>
        <pc:spChg chg="mod ord">
          <ac:chgData name="Bernardo Lares" userId="c0b75bcc-c53b-4925-b19e-54b7afc94e15" providerId="ADAL" clId="{5D663954-B5D6-4A6B-BD90-84B404206790}" dt="2024-11-19T08:10:15.130" v="276"/>
          <ac:spMkLst>
            <pc:docMk/>
            <pc:sldMk cId="3161060149" sldId="283"/>
            <ac:spMk id="117" creationId="{14206964-6D3F-6978-C2F0-BDF2AE52F3AB}"/>
          </ac:spMkLst>
        </pc:spChg>
        <pc:spChg chg="mod">
          <ac:chgData name="Bernardo Lares" userId="c0b75bcc-c53b-4925-b19e-54b7afc94e15" providerId="ADAL" clId="{5D663954-B5D6-4A6B-BD90-84B404206790}" dt="2024-11-19T08:10:15.146" v="291"/>
          <ac:spMkLst>
            <pc:docMk/>
            <pc:sldMk cId="3161060149" sldId="283"/>
            <ac:spMk id="121" creationId="{63CF882C-30B3-F37C-E2B3-7E0DC903EB34}"/>
          </ac:spMkLst>
        </pc:spChg>
        <pc:spChg chg="mod ord">
          <ac:chgData name="Bernardo Lares" userId="c0b75bcc-c53b-4925-b19e-54b7afc94e15" providerId="ADAL" clId="{5D663954-B5D6-4A6B-BD90-84B404206790}" dt="2024-11-19T08:10:15.150" v="295"/>
          <ac:spMkLst>
            <pc:docMk/>
            <pc:sldMk cId="3161060149" sldId="283"/>
            <ac:spMk id="123" creationId="{9B1C1941-3B63-C82D-206F-A462C6996215}"/>
          </ac:spMkLst>
        </pc:spChg>
        <pc:spChg chg="mod ord">
          <ac:chgData name="Bernardo Lares" userId="c0b75bcc-c53b-4925-b19e-54b7afc94e15" providerId="ADAL" clId="{5D663954-B5D6-4A6B-BD90-84B404206790}" dt="2024-11-19T08:10:15.152" v="297"/>
          <ac:spMkLst>
            <pc:docMk/>
            <pc:sldMk cId="3161060149" sldId="283"/>
            <ac:spMk id="124" creationId="{E4901D4E-E15B-401F-8248-568F346A5967}"/>
          </ac:spMkLst>
        </pc:spChg>
        <pc:spChg chg="mod ord">
          <ac:chgData name="Bernardo Lares" userId="c0b75bcc-c53b-4925-b19e-54b7afc94e15" providerId="ADAL" clId="{5D663954-B5D6-4A6B-BD90-84B404206790}" dt="2024-11-19T08:10:15.112" v="254"/>
          <ac:spMkLst>
            <pc:docMk/>
            <pc:sldMk cId="3161060149" sldId="283"/>
            <ac:spMk id="130" creationId="{3FC57AE3-3E46-0D31-EDB6-994A2160842D}"/>
          </ac:spMkLst>
        </pc:spChg>
        <pc:spChg chg="mod">
          <ac:chgData name="Bernardo Lares" userId="c0b75bcc-c53b-4925-b19e-54b7afc94e15" providerId="ADAL" clId="{5D663954-B5D6-4A6B-BD90-84B404206790}" dt="2024-11-19T08:10:15.147" v="292"/>
          <ac:spMkLst>
            <pc:docMk/>
            <pc:sldMk cId="3161060149" sldId="283"/>
            <ac:spMk id="172" creationId="{897E78BA-7563-D2DE-4FBC-4C46DE56F1D8}"/>
          </ac:spMkLst>
        </pc:spChg>
        <pc:spChg chg="mod ord">
          <ac:chgData name="Bernardo Lares" userId="c0b75bcc-c53b-4925-b19e-54b7afc94e15" providerId="ADAL" clId="{5D663954-B5D6-4A6B-BD90-84B404206790}" dt="2024-11-19T08:10:15.141" v="287"/>
          <ac:spMkLst>
            <pc:docMk/>
            <pc:sldMk cId="3161060149" sldId="283"/>
            <ac:spMk id="179" creationId="{CC4E9D9E-5A6D-3B53-DA11-A437B656EA77}"/>
          </ac:spMkLst>
        </pc:spChg>
        <pc:spChg chg="mod ord">
          <ac:chgData name="Bernardo Lares" userId="c0b75bcc-c53b-4925-b19e-54b7afc94e15" providerId="ADAL" clId="{5D663954-B5D6-4A6B-BD90-84B404206790}" dt="2024-11-19T08:10:15.110" v="252"/>
          <ac:spMkLst>
            <pc:docMk/>
            <pc:sldMk cId="3161060149" sldId="283"/>
            <ac:spMk id="191" creationId="{7DC61600-3C79-3051-ED15-18397250BF0D}"/>
          </ac:spMkLst>
        </pc:spChg>
        <pc:spChg chg="mod ord">
          <ac:chgData name="Bernardo Lares" userId="c0b75bcc-c53b-4925-b19e-54b7afc94e15" providerId="ADAL" clId="{5D663954-B5D6-4A6B-BD90-84B404206790}" dt="2024-11-19T08:10:15.154" v="301"/>
          <ac:spMkLst>
            <pc:docMk/>
            <pc:sldMk cId="3161060149" sldId="283"/>
            <ac:spMk id="197" creationId="{56530966-454B-F864-2557-109080AC2B03}"/>
          </ac:spMkLst>
        </pc:spChg>
        <pc:spChg chg="mod">
          <ac:chgData name="Bernardo Lares" userId="c0b75bcc-c53b-4925-b19e-54b7afc94e15" providerId="ADAL" clId="{5D663954-B5D6-4A6B-BD90-84B404206790}" dt="2024-11-19T08:10:15.157" v="303"/>
          <ac:spMkLst>
            <pc:docMk/>
            <pc:sldMk cId="3161060149" sldId="283"/>
            <ac:spMk id="213" creationId="{514391EF-6C99-486B-BFF0-4F4084D1E1FF}"/>
          </ac:spMkLst>
        </pc:spChg>
        <pc:spChg chg="mod">
          <ac:chgData name="Bernardo Lares" userId="c0b75bcc-c53b-4925-b19e-54b7afc94e15" providerId="ADAL" clId="{5D663954-B5D6-4A6B-BD90-84B404206790}" dt="2024-11-19T08:10:15.159" v="304"/>
          <ac:spMkLst>
            <pc:docMk/>
            <pc:sldMk cId="3161060149" sldId="283"/>
            <ac:spMk id="214" creationId="{38285A3E-FB08-7A96-1294-709A49FA1F0F}"/>
          </ac:spMkLst>
        </pc:spChg>
        <pc:spChg chg="mod">
          <ac:chgData name="Bernardo Lares" userId="c0b75bcc-c53b-4925-b19e-54b7afc94e15" providerId="ADAL" clId="{5D663954-B5D6-4A6B-BD90-84B404206790}" dt="2024-11-19T08:10:15.161" v="306"/>
          <ac:spMkLst>
            <pc:docMk/>
            <pc:sldMk cId="3161060149" sldId="283"/>
            <ac:spMk id="216" creationId="{D24397BC-B02D-E6D3-23B0-1AE937317B76}"/>
          </ac:spMkLst>
        </pc:spChg>
        <pc:spChg chg="mod">
          <ac:chgData name="Bernardo Lares" userId="c0b75bcc-c53b-4925-b19e-54b7afc94e15" providerId="ADAL" clId="{5D663954-B5D6-4A6B-BD90-84B404206790}" dt="2024-11-19T08:10:15.163" v="307"/>
          <ac:spMkLst>
            <pc:docMk/>
            <pc:sldMk cId="3161060149" sldId="283"/>
            <ac:spMk id="217" creationId="{A0D71162-2B82-F2CB-865C-5604FAAA0107}"/>
          </ac:spMkLst>
        </pc:spChg>
        <pc:spChg chg="mod ord">
          <ac:chgData name="Bernardo Lares" userId="c0b75bcc-c53b-4925-b19e-54b7afc94e15" providerId="ADAL" clId="{5D663954-B5D6-4A6B-BD90-84B404206790}" dt="2024-11-19T08:10:15.166" v="310"/>
          <ac:spMkLst>
            <pc:docMk/>
            <pc:sldMk cId="3161060149" sldId="283"/>
            <ac:spMk id="219" creationId="{BDD99BD4-4890-99F3-2E4A-5A9E3D9C1029}"/>
          </ac:spMkLst>
        </pc:spChg>
        <pc:spChg chg="mod ord">
          <ac:chgData name="Bernardo Lares" userId="c0b75bcc-c53b-4925-b19e-54b7afc94e15" providerId="ADAL" clId="{5D663954-B5D6-4A6B-BD90-84B404206790}" dt="2024-11-19T08:10:15.167" v="312"/>
          <ac:spMkLst>
            <pc:docMk/>
            <pc:sldMk cId="3161060149" sldId="283"/>
            <ac:spMk id="220" creationId="{87200D54-69DA-CC84-404E-E4F8C9FA78AB}"/>
          </ac:spMkLst>
        </pc:spChg>
        <pc:spChg chg="mod">
          <ac:chgData name="Bernardo Lares" userId="c0b75bcc-c53b-4925-b19e-54b7afc94e15" providerId="ADAL" clId="{5D663954-B5D6-4A6B-BD90-84B404206790}" dt="2024-11-19T08:10:15.169" v="313"/>
          <ac:spMkLst>
            <pc:docMk/>
            <pc:sldMk cId="3161060149" sldId="283"/>
            <ac:spMk id="223" creationId="{7AD74EA7-3392-53B4-2747-8FAE8024F2B3}"/>
          </ac:spMkLst>
        </pc:spChg>
        <pc:spChg chg="mod">
          <ac:chgData name="Bernardo Lares" userId="c0b75bcc-c53b-4925-b19e-54b7afc94e15" providerId="ADAL" clId="{5D663954-B5D6-4A6B-BD90-84B404206790}" dt="2024-11-19T08:10:15.170" v="314"/>
          <ac:spMkLst>
            <pc:docMk/>
            <pc:sldMk cId="3161060149" sldId="283"/>
            <ac:spMk id="224" creationId="{F913E148-96AF-791E-B797-96F7CEA130A1}"/>
          </ac:spMkLst>
        </pc:spChg>
        <pc:spChg chg="mod ord">
          <ac:chgData name="Bernardo Lares" userId="c0b75bcc-c53b-4925-b19e-54b7afc94e15" providerId="ADAL" clId="{5D663954-B5D6-4A6B-BD90-84B404206790}" dt="2024-11-19T08:10:15.153" v="299"/>
          <ac:spMkLst>
            <pc:docMk/>
            <pc:sldMk cId="3161060149" sldId="283"/>
            <ac:spMk id="226" creationId="{8E3CCE8D-E5EE-9FB6-86ED-E8BA6204BB6D}"/>
          </ac:spMkLst>
        </pc:spChg>
        <pc:spChg chg="mod">
          <ac:chgData name="Bernardo Lares" userId="c0b75bcc-c53b-4925-b19e-54b7afc94e15" providerId="ADAL" clId="{5D663954-B5D6-4A6B-BD90-84B404206790}" dt="2024-11-19T08:10:15.149" v="293"/>
          <ac:spMkLst>
            <pc:docMk/>
            <pc:sldMk cId="3161060149" sldId="283"/>
            <ac:spMk id="236" creationId="{E87F248F-4997-010A-2460-DE0F313507F0}"/>
          </ac:spMkLst>
        </pc:spChg>
        <pc:spChg chg="mod ord">
          <ac:chgData name="Bernardo Lares" userId="c0b75bcc-c53b-4925-b19e-54b7afc94e15" providerId="ADAL" clId="{5D663954-B5D6-4A6B-BD90-84B404206790}" dt="2024-11-19T08:10:15.142" v="289"/>
          <ac:spMkLst>
            <pc:docMk/>
            <pc:sldMk cId="3161060149" sldId="283"/>
            <ac:spMk id="239" creationId="{3C1DF903-E466-B5C2-8456-831D4F150644}"/>
          </ac:spMkLst>
        </pc:spChg>
        <pc:spChg chg="mod ord">
          <ac:chgData name="Bernardo Lares" userId="c0b75bcc-c53b-4925-b19e-54b7afc94e15" providerId="ADAL" clId="{5D663954-B5D6-4A6B-BD90-84B404206790}" dt="2024-11-19T08:10:15.171" v="316"/>
          <ac:spMkLst>
            <pc:docMk/>
            <pc:sldMk cId="3161060149" sldId="283"/>
            <ac:spMk id="250" creationId="{00BDCFC7-83E2-89D6-2D05-89F802B1C013}"/>
          </ac:spMkLst>
        </pc:spChg>
        <pc:spChg chg="del">
          <ac:chgData name="Bernardo Lares" userId="c0b75bcc-c53b-4925-b19e-54b7afc94e15" providerId="ADAL" clId="{5D663954-B5D6-4A6B-BD90-84B404206790}" dt="2024-11-19T08:10:14.261" v="55"/>
          <ac:spMkLst>
            <pc:docMk/>
            <pc:sldMk cId="3161060149" sldId="283"/>
            <ac:spMk id="255" creationId="{31AB1DF8-C98D-90D1-DDD9-4722D62D5FA9}"/>
          </ac:spMkLst>
        </pc:spChg>
        <pc:graphicFrameChg chg="mod">
          <ac:chgData name="Bernardo Lares" userId="c0b75bcc-c53b-4925-b19e-54b7afc94e15" providerId="ADAL" clId="{5D663954-B5D6-4A6B-BD90-84B404206790}" dt="2024-11-19T08:10:15.179" v="322"/>
          <ac:graphicFrameMkLst>
            <pc:docMk/>
            <pc:sldMk cId="3161060149" sldId="283"/>
            <ac:graphicFrameMk id="7" creationId="{00000000-0000-0000-0000-000000000000}"/>
          </ac:graphicFrameMkLst>
        </pc:graphicFrameChg>
        <pc:graphicFrameChg chg="add mod replST">
          <ac:chgData name="Bernardo Lares" userId="c0b75bcc-c53b-4925-b19e-54b7afc94e15" providerId="ADAL" clId="{5D663954-B5D6-4A6B-BD90-84B404206790}" dt="2024-11-19T08:10:15.118" v="263"/>
          <ac:graphicFrameMkLst>
            <pc:docMk/>
            <pc:sldMk cId="3161060149" sldId="283"/>
            <ac:graphicFrameMk id="10" creationId="{3A08D283-28FD-E7BE-84F9-A58A5D66E0FD}"/>
          </ac:graphicFrameMkLst>
        </pc:graphicFrameChg>
        <pc:graphicFrameChg chg="add mod replST">
          <ac:chgData name="Bernardo Lares" userId="c0b75bcc-c53b-4925-b19e-54b7afc94e15" providerId="ADAL" clId="{5D663954-B5D6-4A6B-BD90-84B404206790}" dt="2024-11-19T08:10:15.134" v="279"/>
          <ac:graphicFrameMkLst>
            <pc:docMk/>
            <pc:sldMk cId="3161060149" sldId="283"/>
            <ac:graphicFrameMk id="11" creationId="{C8C62BD9-F849-0212-3B16-2CD5DCB7CF12}"/>
          </ac:graphicFrameMkLst>
        </pc:graphicFrameChg>
        <pc:graphicFrameChg chg="add mod replST">
          <ac:chgData name="Bernardo Lares" userId="c0b75bcc-c53b-4925-b19e-54b7afc94e15" providerId="ADAL" clId="{5D663954-B5D6-4A6B-BD90-84B404206790}" dt="2024-11-19T08:10:15.155" v="302"/>
          <ac:graphicFrameMkLst>
            <pc:docMk/>
            <pc:sldMk cId="3161060149" sldId="283"/>
            <ac:graphicFrameMk id="12" creationId="{3BB7C4A1-76C9-9D60-5883-26FE40042625}"/>
          </ac:graphicFrameMkLst>
        </pc:graphicFrameChg>
        <pc:graphicFrameChg chg="del">
          <ac:chgData name="Bernardo Lares" userId="c0b75bcc-c53b-4925-b19e-54b7afc94e15" providerId="ADAL" clId="{5D663954-B5D6-4A6B-BD90-84B404206790}" dt="2024-11-19T08:10:14.690" v="167"/>
          <ac:graphicFrameMkLst>
            <pc:docMk/>
            <pc:sldMk cId="3161060149" sldId="283"/>
            <ac:graphicFrameMk id="24" creationId="{FB6E0B93-D31E-9CB2-C2E8-11449228FC8E}"/>
          </ac:graphicFrameMkLst>
        </pc:graphicFrameChg>
        <pc:graphicFrameChg chg="del">
          <ac:chgData name="Bernardo Lares" userId="c0b75bcc-c53b-4925-b19e-54b7afc94e15" providerId="ADAL" clId="{5D663954-B5D6-4A6B-BD90-84B404206790}" dt="2024-11-19T08:10:14.445" v="127"/>
          <ac:graphicFrameMkLst>
            <pc:docMk/>
            <pc:sldMk cId="3161060149" sldId="283"/>
            <ac:graphicFrameMk id="41" creationId="{8A95C963-C5EC-FB2E-25D2-129CF2BD6ED0}"/>
          </ac:graphicFrameMkLst>
        </pc:graphicFrameChg>
        <pc:graphicFrameChg chg="del">
          <ac:chgData name="Bernardo Lares" userId="c0b75bcc-c53b-4925-b19e-54b7afc94e15" providerId="ADAL" clId="{5D663954-B5D6-4A6B-BD90-84B404206790}" dt="2024-11-19T08:10:15" v="244"/>
          <ac:graphicFrameMkLst>
            <pc:docMk/>
            <pc:sldMk cId="3161060149" sldId="283"/>
            <ac:graphicFrameMk id="254" creationId="{AC7B39AA-3FC0-CF7E-32E6-22C65C8B2088}"/>
          </ac:graphicFrameMkLst>
        </pc:graphicFrameChg>
        <pc:picChg chg="mod ord">
          <ac:chgData name="Bernardo Lares" userId="c0b75bcc-c53b-4925-b19e-54b7afc94e15" providerId="ADAL" clId="{5D663954-B5D6-4A6B-BD90-84B404206790}" dt="2024-11-19T08:10:15.115" v="260"/>
          <ac:picMkLst>
            <pc:docMk/>
            <pc:sldMk cId="3161060149" sldId="283"/>
            <ac:picMk id="21" creationId="{0C0B2D6C-0580-45FB-A32F-2A017011F7CE}"/>
          </ac:picMkLst>
        </pc:picChg>
      </pc:sldChg>
      <pc:sldMasterChg chg="modSldLayout">
        <pc:chgData name="Bernardo Lares" userId="c0b75bcc-c53b-4925-b19e-54b7afc94e15" providerId="ADAL" clId="{5D663954-B5D6-4A6B-BD90-84B404206790}" dt="2024-11-19T08:13:16.320" v="338"/>
        <pc:sldMasterMkLst>
          <pc:docMk/>
          <pc:sldMasterMk cId="3442277182" sldId="2147483788"/>
        </pc:sldMasterMkLst>
        <pc:sldLayoutChg chg="modAnim">
          <pc:chgData name="Bernardo Lares" userId="c0b75bcc-c53b-4925-b19e-54b7afc94e15" providerId="ADAL" clId="{5D663954-B5D6-4A6B-BD90-84B404206790}" dt="2024-11-19T08:13:16.320" v="338"/>
          <pc:sldLayoutMkLst>
            <pc:docMk/>
            <pc:sldMasterMk cId="3442277182" sldId="2147483788"/>
            <pc:sldLayoutMk cId="2050527937" sldId="2147483818"/>
          </pc:sldLayoutMkLst>
        </pc:sldLayoutChg>
      </pc:sldMasterChg>
    </pc:docChg>
  </pc:docChgLst>
  <pc:docChgLst>
    <pc:chgData name="Bernardo Lares" userId="c0b75bcc-c53b-4925-b19e-54b7afc94e15" providerId="ADAL" clId="{5527C545-EEA8-4FC2-9CE2-3B0BE95062CA}"/>
    <pc:docChg chg="custSel modMainMaster">
      <pc:chgData name="Bernardo Lares" userId="c0b75bcc-c53b-4925-b19e-54b7afc94e15" providerId="ADAL" clId="{5527C545-EEA8-4FC2-9CE2-3B0BE95062CA}" dt="2025-01-13T15:55:14.142" v="119"/>
      <pc:docMkLst>
        <pc:docMk/>
      </pc:docMkLst>
      <pc:sldMasterChg chg="modSldLayout">
        <pc:chgData name="Bernardo Lares" userId="c0b75bcc-c53b-4925-b19e-54b7afc94e15" providerId="ADAL" clId="{5527C545-EEA8-4FC2-9CE2-3B0BE95062CA}" dt="2025-01-13T15:55:14.142" v="119"/>
        <pc:sldMasterMkLst>
          <pc:docMk/>
          <pc:sldMasterMk cId="3442277182" sldId="2147483788"/>
        </pc:sldMasterMkLst>
        <pc:sldLayoutChg chg="addSp delSp modSp mod">
          <pc:chgData name="Bernardo Lares" userId="c0b75bcc-c53b-4925-b19e-54b7afc94e15" providerId="ADAL" clId="{5527C545-EEA8-4FC2-9CE2-3B0BE95062CA}" dt="2025-01-09T09:32:35.737" v="109" actId="14100"/>
          <pc:sldLayoutMkLst>
            <pc:docMk/>
            <pc:sldMasterMk cId="3442277182" sldId="2147483788"/>
            <pc:sldLayoutMk cId="2872251708" sldId="2147483789"/>
          </pc:sldLayoutMkLst>
          <pc:spChg chg="add mod">
            <ac:chgData name="Bernardo Lares" userId="c0b75bcc-c53b-4925-b19e-54b7afc94e15" providerId="ADAL" clId="{5527C545-EEA8-4FC2-9CE2-3B0BE95062CA}" dt="2025-01-09T09:32:30.782" v="107" actId="14100"/>
            <ac:spMkLst>
              <pc:docMk/>
              <pc:sldMasterMk cId="3442277182" sldId="2147483788"/>
              <pc:sldLayoutMk cId="2872251708" sldId="2147483789"/>
              <ac:spMk id="2" creationId="{DF5D6417-9E3F-D387-FCE3-AEC017AACA36}"/>
            </ac:spMkLst>
          </pc:spChg>
          <pc:spChg chg="mod">
            <ac:chgData name="Bernardo Lares" userId="c0b75bcc-c53b-4925-b19e-54b7afc94e15" providerId="ADAL" clId="{5527C545-EEA8-4FC2-9CE2-3B0BE95062CA}" dt="2025-01-09T09:32:28.203" v="106" actId="14100"/>
            <ac:spMkLst>
              <pc:docMk/>
              <pc:sldMasterMk cId="3442277182" sldId="2147483788"/>
              <pc:sldLayoutMk cId="2872251708" sldId="2147483789"/>
              <ac:spMk id="11" creationId="{E3F42345-CCFC-E059-03DA-F397DED86EBE}"/>
            </ac:spMkLst>
          </pc:spChg>
          <pc:spChg chg="del">
            <ac:chgData name="Bernardo Lares" userId="c0b75bcc-c53b-4925-b19e-54b7afc94e15" providerId="ADAL" clId="{5527C545-EEA8-4FC2-9CE2-3B0BE95062CA}" dt="2025-01-08T10:24:48.031" v="59" actId="21"/>
            <ac:spMkLst>
              <pc:docMk/>
              <pc:sldMasterMk cId="3442277182" sldId="2147483788"/>
              <pc:sldLayoutMk cId="2872251708" sldId="2147483789"/>
              <ac:spMk id="12" creationId="{5D029F58-8663-7EC8-72E4-82776A4FBDEC}"/>
            </ac:spMkLst>
          </pc:spChg>
          <pc:spChg chg="del mod">
            <ac:chgData name="Bernardo Lares" userId="c0b75bcc-c53b-4925-b19e-54b7afc94e15" providerId="ADAL" clId="{5527C545-EEA8-4FC2-9CE2-3B0BE95062CA}" dt="2025-01-08T10:24:48.031" v="59" actId="21"/>
            <ac:spMkLst>
              <pc:docMk/>
              <pc:sldMasterMk cId="3442277182" sldId="2147483788"/>
              <pc:sldLayoutMk cId="2872251708" sldId="2147483789"/>
              <ac:spMk id="13" creationId="{FE5BEE8E-864D-B17B-26F8-D09E31D9E7CC}"/>
            </ac:spMkLst>
          </pc:spChg>
          <pc:spChg chg="add mod">
            <ac:chgData name="Bernardo Lares" userId="c0b75bcc-c53b-4925-b19e-54b7afc94e15" providerId="ADAL" clId="{5527C545-EEA8-4FC2-9CE2-3B0BE95062CA}" dt="2025-01-09T09:32:33.354" v="108" actId="14100"/>
            <ac:spMkLst>
              <pc:docMk/>
              <pc:sldMasterMk cId="3442277182" sldId="2147483788"/>
              <pc:sldLayoutMk cId="2872251708" sldId="2147483789"/>
              <ac:spMk id="14" creationId="{5D029F58-8663-7EC8-72E4-82776A4FBDEC}"/>
            </ac:spMkLst>
          </pc:spChg>
          <pc:spChg chg="add mod">
            <ac:chgData name="Bernardo Lares" userId="c0b75bcc-c53b-4925-b19e-54b7afc94e15" providerId="ADAL" clId="{5527C545-EEA8-4FC2-9CE2-3B0BE95062CA}" dt="2025-01-09T09:32:35.737" v="109" actId="14100"/>
            <ac:spMkLst>
              <pc:docMk/>
              <pc:sldMasterMk cId="3442277182" sldId="2147483788"/>
              <pc:sldLayoutMk cId="2872251708" sldId="2147483789"/>
              <ac:spMk id="15" creationId="{FE5BEE8E-864D-B17B-26F8-D09E31D9E7CC}"/>
            </ac:spMkLst>
          </pc:spChg>
        </pc:sldLayoutChg>
        <pc:sldLayoutChg chg="modSp mod">
          <pc:chgData name="Bernardo Lares" userId="c0b75bcc-c53b-4925-b19e-54b7afc94e15" providerId="ADAL" clId="{5527C545-EEA8-4FC2-9CE2-3B0BE95062CA}" dt="2025-01-08T10:21:24.070" v="10" actId="20577"/>
          <pc:sldLayoutMkLst>
            <pc:docMk/>
            <pc:sldMasterMk cId="3442277182" sldId="2147483788"/>
            <pc:sldLayoutMk cId="2050527937" sldId="2147483818"/>
          </pc:sldLayoutMkLst>
          <pc:spChg chg="mod">
            <ac:chgData name="Bernardo Lares" userId="c0b75bcc-c53b-4925-b19e-54b7afc94e15" providerId="ADAL" clId="{5527C545-EEA8-4FC2-9CE2-3B0BE95062CA}" dt="2025-01-08T10:21:24.070" v="10" actId="20577"/>
            <ac:spMkLst>
              <pc:docMk/>
              <pc:sldMasterMk cId="3442277182" sldId="2147483788"/>
              <pc:sldLayoutMk cId="2050527937" sldId="2147483818"/>
              <ac:spMk id="16" creationId="{E84DF276-C9FA-22EF-0D12-D82FED3CD14A}"/>
            </ac:spMkLst>
          </pc:spChg>
        </pc:sldLayoutChg>
        <pc:sldLayoutChg chg="delSp modSp mod modAnim">
          <pc:chgData name="Bernardo Lares" userId="c0b75bcc-c53b-4925-b19e-54b7afc94e15" providerId="ADAL" clId="{5527C545-EEA8-4FC2-9CE2-3B0BE95062CA}" dt="2025-01-13T11:46:51.661" v="117"/>
          <pc:sldLayoutMkLst>
            <pc:docMk/>
            <pc:sldMasterMk cId="3442277182" sldId="2147483788"/>
            <pc:sldLayoutMk cId="4135425300" sldId="2147483819"/>
          </pc:sldLayoutMkLst>
          <pc:spChg chg="del mod">
            <ac:chgData name="Bernardo Lares" userId="c0b75bcc-c53b-4925-b19e-54b7afc94e15" providerId="ADAL" clId="{5527C545-EEA8-4FC2-9CE2-3B0BE95062CA}" dt="2025-01-08T12:48:07.207" v="70" actId="478"/>
            <ac:spMkLst>
              <pc:docMk/>
              <pc:sldMasterMk cId="3442277182" sldId="2147483788"/>
              <pc:sldLayoutMk cId="4135425300" sldId="2147483819"/>
              <ac:spMk id="7" creationId="{4B3924AB-56D4-343D-306B-195A924E9EF9}"/>
            </ac:spMkLst>
          </pc:spChg>
          <pc:spChg chg="mod">
            <ac:chgData name="Bernardo Lares" userId="c0b75bcc-c53b-4925-b19e-54b7afc94e15" providerId="ADAL" clId="{5527C545-EEA8-4FC2-9CE2-3B0BE95062CA}" dt="2025-01-08T12:48:49.645" v="103" actId="14100"/>
            <ac:spMkLst>
              <pc:docMk/>
              <pc:sldMasterMk cId="3442277182" sldId="2147483788"/>
              <pc:sldLayoutMk cId="4135425300" sldId="2147483819"/>
              <ac:spMk id="10" creationId="{E7FB71F7-C458-6271-4659-9B6ACDE19058}"/>
            </ac:spMkLst>
          </pc:spChg>
          <pc:spChg chg="mod">
            <ac:chgData name="Bernardo Lares" userId="c0b75bcc-c53b-4925-b19e-54b7afc94e15" providerId="ADAL" clId="{5527C545-EEA8-4FC2-9CE2-3B0BE95062CA}" dt="2025-01-08T12:49:01.449" v="104" actId="14100"/>
            <ac:spMkLst>
              <pc:docMk/>
              <pc:sldMasterMk cId="3442277182" sldId="2147483788"/>
              <pc:sldLayoutMk cId="4135425300" sldId="2147483819"/>
              <ac:spMk id="16" creationId="{D56A1FA5-921D-8299-14A6-613F556A5E24}"/>
            </ac:spMkLst>
          </pc:spChg>
          <pc:spChg chg="mod">
            <ac:chgData name="Bernardo Lares" userId="c0b75bcc-c53b-4925-b19e-54b7afc94e15" providerId="ADAL" clId="{5527C545-EEA8-4FC2-9CE2-3B0BE95062CA}" dt="2025-01-09T09:32:50.685" v="114" actId="1038"/>
            <ac:spMkLst>
              <pc:docMk/>
              <pc:sldMasterMk cId="3442277182" sldId="2147483788"/>
              <pc:sldLayoutMk cId="4135425300" sldId="2147483819"/>
              <ac:spMk id="17" creationId="{9DCB2C8E-72AD-6D0C-5E71-F3F2B69CA75D}"/>
            </ac:spMkLst>
          </pc:spChg>
          <pc:spChg chg="mod">
            <ac:chgData name="Bernardo Lares" userId="c0b75bcc-c53b-4925-b19e-54b7afc94e15" providerId="ADAL" clId="{5527C545-EEA8-4FC2-9CE2-3B0BE95062CA}" dt="2025-01-08T12:48:41.452" v="102" actId="14100"/>
            <ac:spMkLst>
              <pc:docMk/>
              <pc:sldMasterMk cId="3442277182" sldId="2147483788"/>
              <pc:sldLayoutMk cId="4135425300" sldId="2147483819"/>
              <ac:spMk id="18" creationId="{44147D5A-077C-A883-4DBE-42E95A5FBB7D}"/>
            </ac:spMkLst>
          </pc:spChg>
        </pc:sldLayoutChg>
        <pc:sldLayoutChg chg="modAnim">
          <pc:chgData name="Bernardo Lares" userId="c0b75bcc-c53b-4925-b19e-54b7afc94e15" providerId="ADAL" clId="{5527C545-EEA8-4FC2-9CE2-3B0BE95062CA}" dt="2025-01-13T15:55:14.142" v="119"/>
          <pc:sldLayoutMkLst>
            <pc:docMk/>
            <pc:sldMasterMk cId="3442277182" sldId="2147483788"/>
            <pc:sldLayoutMk cId="2175404669" sldId="2147483821"/>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C5DC5B-BF83-D0F8-F17D-E458477D6A3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1CA5C446-58AD-F05A-78BC-F13AD7A39D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2FE7CBA-E269-484E-BC88-4EF08BDBC0FE}" type="datetimeFigureOut">
              <a:rPr lang="en-GB" smtClean="0"/>
              <a:t>21/08/2025</a:t>
            </a:fld>
            <a:endParaRPr lang="en-GB" dirty="0"/>
          </a:p>
        </p:txBody>
      </p:sp>
      <p:sp>
        <p:nvSpPr>
          <p:cNvPr id="4" name="Footer Placeholder 3">
            <a:extLst>
              <a:ext uri="{FF2B5EF4-FFF2-40B4-BE49-F238E27FC236}">
                <a16:creationId xmlns:a16="http://schemas.microsoft.com/office/drawing/2014/main" id="{1BBAEC85-53EE-AA3F-A105-CB67500BDB5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061DCF5B-A081-B9F4-9E5F-FDA0297F201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B59F402-05D6-4C19-804E-80C8EBA9A784}" type="slidenum">
              <a:rPr lang="en-GB" smtClean="0"/>
              <a:t>‹#›</a:t>
            </a:fld>
            <a:endParaRPr lang="en-GB" dirty="0"/>
          </a:p>
        </p:txBody>
      </p:sp>
    </p:spTree>
    <p:extLst>
      <p:ext uri="{BB962C8B-B14F-4D97-AF65-F5344CB8AC3E}">
        <p14:creationId xmlns:p14="http://schemas.microsoft.com/office/powerpoint/2010/main" val="208269261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anose="020B0604020202020204" pitchFamily="34" charset="0"/>
              </a:defRPr>
            </a:lvl1pPr>
          </a:lstStyle>
          <a:p>
            <a:fld id="{050A8971-52B8-4C5A-99D8-986A596F2912}" type="datetimeFigureOut">
              <a:rPr lang="en-GB" smtClean="0"/>
              <a:pPr/>
              <a:t>21/08/2025</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anose="020B0604020202020204" pitchFamily="34" charset="0"/>
              </a:defRPr>
            </a:lvl1pPr>
          </a:lstStyle>
          <a:p>
            <a:fld id="{026B53C8-14E4-49A7-A1A5-3BF810B81EBE}" type="slidenum">
              <a:rPr lang="en-GB" smtClean="0"/>
              <a:pPr/>
              <a:t>‹#›</a:t>
            </a:fld>
            <a:endParaRPr lang="en-GB" dirty="0"/>
          </a:p>
        </p:txBody>
      </p:sp>
    </p:spTree>
    <p:extLst>
      <p:ext uri="{BB962C8B-B14F-4D97-AF65-F5344CB8AC3E}">
        <p14:creationId xmlns:p14="http://schemas.microsoft.com/office/powerpoint/2010/main" val="4209032733"/>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18" Type="http://schemas.openxmlformats.org/officeDocument/2006/relationships/image" Target="../media/image16.png"/><Relationship Id="rId3" Type="http://schemas.openxmlformats.org/officeDocument/2006/relationships/slideMaster" Target="../slideMasters/slideMaster1.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tags" Target="../tags/tag11.xml"/><Relationship Id="rId16" Type="http://schemas.openxmlformats.org/officeDocument/2006/relationships/image" Target="../media/image14.png"/><Relationship Id="rId1" Type="http://schemas.openxmlformats.org/officeDocument/2006/relationships/tags" Target="../tags/tag10.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3.emf"/><Relationship Id="rId15" Type="http://schemas.openxmlformats.org/officeDocument/2006/relationships/image" Target="../media/image13.svg"/><Relationship Id="rId10" Type="http://schemas.openxmlformats.org/officeDocument/2006/relationships/image" Target="../media/image8.png"/><Relationship Id="rId19" Type="http://schemas.openxmlformats.org/officeDocument/2006/relationships/image" Target="../media/image17.svg"/><Relationship Id="rId4" Type="http://schemas.openxmlformats.org/officeDocument/2006/relationships/oleObject" Target="../embeddings/oleObject6.bin"/><Relationship Id="rId9" Type="http://schemas.openxmlformats.org/officeDocument/2006/relationships/image" Target="../media/image7.svg"/><Relationship Id="rId14" Type="http://schemas.openxmlformats.org/officeDocument/2006/relationships/image" Target="../media/image12.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892896-0027-443A-D01E-0CE282B3A5CC}"/>
              </a:ext>
            </a:extLst>
          </p:cNvPr>
          <p:cNvGraphicFramePr>
            <a:graphicFrameLocks noChangeAspect="1"/>
          </p:cNvGraphicFramePr>
          <p:nvPr>
            <p:custDataLst>
              <p:tags r:id="rId1"/>
            </p:custDataLst>
            <p:extLst>
              <p:ext uri="{D42A27DB-BD31-4B8C-83A1-F6EECF244321}">
                <p14:modId xmlns:p14="http://schemas.microsoft.com/office/powerpoint/2010/main" val="309251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C2892896-0027-443A-D01E-0CE282B3A5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itle"/>
          <p:cNvSpPr>
            <a:spLocks noGrp="1"/>
          </p:cNvSpPr>
          <p:nvPr>
            <p:ph type="ctrTitle" hasCustomPrompt="1"/>
          </p:nvPr>
        </p:nvSpPr>
        <p:spPr>
          <a:xfrm>
            <a:off x="520700" y="3940216"/>
            <a:ext cx="11150600" cy="548009"/>
          </a:xfrm>
          <a:prstGeom prst="rect">
            <a:avLst/>
          </a:prstGeom>
        </p:spPr>
        <p:txBody>
          <a:bodyPr vert="horz" anchor="b" anchorCtr="0">
            <a:noAutofit/>
          </a:bodyPr>
          <a:lstStyle>
            <a:lvl1pPr algn="ctr">
              <a:lnSpc>
                <a:spcPct val="100000"/>
              </a:lnSpc>
              <a:defRPr sz="3600">
                <a:solidFill>
                  <a:schemeClr val="tx1">
                    <a:lumMod val="85000"/>
                    <a:lumOff val="15000"/>
                  </a:schemeClr>
                </a:solidFill>
                <a:latin typeface="+mj-lt"/>
              </a:defRPr>
            </a:lvl1pPr>
          </a:lstStyle>
          <a:p>
            <a:r>
              <a:rPr lang="en-GB" dirty="0"/>
              <a:t>MMM Insights Report for XXX</a:t>
            </a:r>
          </a:p>
        </p:txBody>
      </p:sp>
      <p:sp>
        <p:nvSpPr>
          <p:cNvPr id="20" name="Subtitle"/>
          <p:cNvSpPr>
            <a:spLocks noGrp="1"/>
          </p:cNvSpPr>
          <p:nvPr>
            <p:ph type="subTitle" idx="1" hasCustomPrompt="1"/>
          </p:nvPr>
        </p:nvSpPr>
        <p:spPr>
          <a:xfrm>
            <a:off x="520700" y="4502943"/>
            <a:ext cx="11150600" cy="475200"/>
          </a:xfrm>
          <a:prstGeom prst="rect">
            <a:avLst/>
          </a:prstGeom>
        </p:spPr>
        <p:txBody>
          <a:bodyPr wrap="square" lIns="0" tIns="0" rIns="0" bIns="0" anchor="t" anchorCtr="0">
            <a:noAutofit/>
          </a:bodyPr>
          <a:lstStyle>
            <a:lvl1pPr marL="0" indent="0" algn="ctr">
              <a:spcBef>
                <a:spcPts val="0"/>
              </a:spcBef>
              <a:spcAft>
                <a:spcPts val="0"/>
              </a:spcAft>
              <a:buNone/>
              <a:defRPr sz="2400" i="0">
                <a:solidFill>
                  <a:schemeClr val="tx1">
                    <a:lumMod val="85000"/>
                    <a:lumOff val="15000"/>
                  </a:schemeClr>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Auto-Generated with Rosa</a:t>
            </a:r>
          </a:p>
        </p:txBody>
      </p:sp>
      <p:sp>
        <p:nvSpPr>
          <p:cNvPr id="11" name="Presentation date">
            <a:extLst>
              <a:ext uri="{FF2B5EF4-FFF2-40B4-BE49-F238E27FC236}">
                <a16:creationId xmlns:a16="http://schemas.microsoft.com/office/drawing/2014/main" id="{E3F42345-CCFC-E059-03DA-F397DED86EBE}"/>
              </a:ext>
            </a:extLst>
          </p:cNvPr>
          <p:cNvSpPr>
            <a:spLocks noGrp="1"/>
          </p:cNvSpPr>
          <p:nvPr>
            <p:ph sz="quarter" idx="14" hasCustomPrompt="1"/>
          </p:nvPr>
        </p:nvSpPr>
        <p:spPr>
          <a:xfrm>
            <a:off x="520702" y="5181500"/>
            <a:ext cx="5575298" cy="382264"/>
          </a:xfrm>
        </p:spPr>
        <p:txBody>
          <a:bodyPr>
            <a:normAutofit/>
          </a:bodyPr>
          <a:lstStyle>
            <a:lvl1pPr marL="0" indent="0" algn="l">
              <a:buNone/>
              <a:defRPr sz="1400">
                <a:solidFill>
                  <a:schemeClr val="tx1">
                    <a:lumMod val="85000"/>
                    <a:lumOff val="15000"/>
                  </a:schemeClr>
                </a:solidFill>
                <a:latin typeface="+mj-lt"/>
              </a:defRPr>
            </a:lvl1pPr>
          </a:lstStyle>
          <a:p>
            <a:r>
              <a:rPr lang="es-ES" dirty="0" err="1"/>
              <a:t>Presentation</a:t>
            </a:r>
            <a:r>
              <a:rPr lang="es-ES" dirty="0"/>
              <a:t> date: XXX</a:t>
            </a:r>
            <a:endParaRPr dirty="0"/>
          </a:p>
        </p:txBody>
      </p:sp>
      <p:sp>
        <p:nvSpPr>
          <p:cNvPr id="2" name="Reporting dates">
            <a:extLst>
              <a:ext uri="{FF2B5EF4-FFF2-40B4-BE49-F238E27FC236}">
                <a16:creationId xmlns:a16="http://schemas.microsoft.com/office/drawing/2014/main" id="{DF5D6417-9E3F-D387-FCE3-AEC017AACA36}"/>
              </a:ext>
            </a:extLst>
          </p:cNvPr>
          <p:cNvSpPr>
            <a:spLocks noGrp="1"/>
          </p:cNvSpPr>
          <p:nvPr>
            <p:ph sz="quarter" idx="17" hasCustomPrompt="1"/>
          </p:nvPr>
        </p:nvSpPr>
        <p:spPr>
          <a:xfrm>
            <a:off x="520700" y="5525664"/>
            <a:ext cx="5575298" cy="382264"/>
          </a:xfrm>
        </p:spPr>
        <p:txBody>
          <a:bodyPr>
            <a:normAutofit/>
          </a:bodyPr>
          <a:lstStyle>
            <a:lvl1pPr marL="0" indent="0" algn="l">
              <a:buNone/>
              <a:defRPr sz="1400">
                <a:solidFill>
                  <a:schemeClr val="tx1">
                    <a:lumMod val="85000"/>
                    <a:lumOff val="15000"/>
                  </a:schemeClr>
                </a:solidFill>
                <a:latin typeface="+mj-lt"/>
              </a:defRPr>
            </a:lvl1pPr>
          </a:lstStyle>
          <a:p>
            <a:r>
              <a:rPr lang="es-ES" dirty="0" err="1"/>
              <a:t>Reporting</a:t>
            </a:r>
            <a:r>
              <a:rPr lang="es-ES" dirty="0"/>
              <a:t> dates: XXX</a:t>
            </a:r>
            <a:endParaRPr dirty="0"/>
          </a:p>
        </p:txBody>
      </p:sp>
      <p:sp>
        <p:nvSpPr>
          <p:cNvPr id="14" name="Model date">
            <a:extLst>
              <a:ext uri="{FF2B5EF4-FFF2-40B4-BE49-F238E27FC236}">
                <a16:creationId xmlns:a16="http://schemas.microsoft.com/office/drawing/2014/main" id="{5D029F58-8663-7EC8-72E4-82776A4FBDEC}"/>
              </a:ext>
            </a:extLst>
          </p:cNvPr>
          <p:cNvSpPr>
            <a:spLocks noGrp="1"/>
          </p:cNvSpPr>
          <p:nvPr>
            <p:ph sz="quarter" idx="15" hasCustomPrompt="1"/>
          </p:nvPr>
        </p:nvSpPr>
        <p:spPr>
          <a:xfrm>
            <a:off x="520700" y="5869828"/>
            <a:ext cx="5575298" cy="382264"/>
          </a:xfrm>
        </p:spPr>
        <p:txBody>
          <a:bodyPr>
            <a:normAutofit/>
          </a:bodyPr>
          <a:lstStyle>
            <a:lvl1pPr marL="0" indent="0" algn="l">
              <a:buNone/>
              <a:defRPr sz="1400">
                <a:solidFill>
                  <a:schemeClr val="tx1">
                    <a:lumMod val="85000"/>
                    <a:lumOff val="15000"/>
                  </a:schemeClr>
                </a:solidFill>
                <a:latin typeface="+mj-lt"/>
              </a:defRPr>
            </a:lvl1pPr>
          </a:lstStyle>
          <a:p>
            <a:r>
              <a:rPr lang="es-ES" dirty="0" err="1"/>
              <a:t>Model</a:t>
            </a:r>
            <a:r>
              <a:rPr lang="es-ES" dirty="0"/>
              <a:t> date: XXX</a:t>
            </a:r>
            <a:endParaRPr dirty="0"/>
          </a:p>
        </p:txBody>
      </p:sp>
      <p:sp>
        <p:nvSpPr>
          <p:cNvPr id="15" name="Model name">
            <a:extLst>
              <a:ext uri="{FF2B5EF4-FFF2-40B4-BE49-F238E27FC236}">
                <a16:creationId xmlns:a16="http://schemas.microsoft.com/office/drawing/2014/main" id="{FE5BEE8E-864D-B17B-26F8-D09E31D9E7CC}"/>
              </a:ext>
            </a:extLst>
          </p:cNvPr>
          <p:cNvSpPr>
            <a:spLocks noGrp="1"/>
          </p:cNvSpPr>
          <p:nvPr>
            <p:ph sz="quarter" idx="16" hasCustomPrompt="1"/>
          </p:nvPr>
        </p:nvSpPr>
        <p:spPr>
          <a:xfrm>
            <a:off x="520699" y="6211198"/>
            <a:ext cx="5575298" cy="382264"/>
          </a:xfrm>
        </p:spPr>
        <p:txBody>
          <a:bodyPr>
            <a:normAutofit/>
          </a:bodyPr>
          <a:lstStyle>
            <a:lvl1pPr marL="0" indent="0" algn="l">
              <a:buNone/>
              <a:defRPr sz="1400">
                <a:solidFill>
                  <a:schemeClr val="tx1">
                    <a:lumMod val="85000"/>
                    <a:lumOff val="15000"/>
                  </a:schemeClr>
                </a:solidFill>
                <a:latin typeface="+mj-lt"/>
              </a:defRPr>
            </a:lvl1pPr>
          </a:lstStyle>
          <a:p>
            <a:r>
              <a:rPr lang="es-ES" dirty="0" err="1"/>
              <a:t>Model</a:t>
            </a:r>
            <a:r>
              <a:rPr lang="es-ES" dirty="0"/>
              <a:t> </a:t>
            </a:r>
            <a:r>
              <a:rPr lang="es-ES" dirty="0" err="1"/>
              <a:t>name</a:t>
            </a:r>
            <a:r>
              <a:rPr lang="es-ES" dirty="0"/>
              <a:t>: XXX</a:t>
            </a:r>
            <a:endParaRPr dirty="0"/>
          </a:p>
        </p:txBody>
      </p:sp>
      <p:pic>
        <p:nvPicPr>
          <p:cNvPr id="5" name="Picture 4" descr="A hexagon with a black background&#10;&#10;AI-generated content may be incorrect.">
            <a:extLst>
              <a:ext uri="{FF2B5EF4-FFF2-40B4-BE49-F238E27FC236}">
                <a16:creationId xmlns:a16="http://schemas.microsoft.com/office/drawing/2014/main" id="{4BC6E195-BDAE-F329-85BA-2E6C5B9C9C1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8740" y="125001"/>
            <a:ext cx="1549400" cy="1625600"/>
          </a:xfrm>
          <a:prstGeom prst="rect">
            <a:avLst/>
          </a:prstGeom>
        </p:spPr>
      </p:pic>
    </p:spTree>
    <p:extLst>
      <p:ext uri="{BB962C8B-B14F-4D97-AF65-F5344CB8AC3E}">
        <p14:creationId xmlns:p14="http://schemas.microsoft.com/office/powerpoint/2010/main" val="287225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jso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21CDEB8-E44B-BE7A-700F-DD2933667B60}"/>
              </a:ext>
            </a:extLst>
          </p:cNvPr>
          <p:cNvGraphicFramePr>
            <a:graphicFrameLocks noChangeAspect="1"/>
          </p:cNvGraphicFramePr>
          <p:nvPr userDrawn="1">
            <p:custDataLst>
              <p:tags r:id="rId2"/>
            </p:custDataLst>
            <p:extLst>
              <p:ext uri="{D42A27DB-BD31-4B8C-83A1-F6EECF244321}">
                <p14:modId xmlns:p14="http://schemas.microsoft.com/office/powerpoint/2010/main" val="3422451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4" imgH="425" progId="TCLayout.ActiveDocument.1">
                  <p:embed/>
                </p:oleObj>
              </mc:Choice>
              <mc:Fallback>
                <p:oleObj name="think-cell Slide" r:id="rId4" imgW="424" imgH="425" progId="TCLayout.ActiveDocument.1">
                  <p:embed/>
                  <p:pic>
                    <p:nvPicPr>
                      <p:cNvPr id="8" name="think-cell data - do not delete" hidden="1">
                        <a:extLst>
                          <a:ext uri="{FF2B5EF4-FFF2-40B4-BE49-F238E27FC236}">
                            <a16:creationId xmlns:a16="http://schemas.microsoft.com/office/drawing/2014/main" id="{B21CDEB8-E44B-BE7A-700F-DD2933667B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vert="horz"/>
          <a:lstStyle>
            <a:lvl1pPr>
              <a:defRPr>
                <a:latin typeface="Arial" panose="020B0604020202020204" pitchFamily="34" charset="0"/>
                <a:cs typeface="Arial" panose="020B0604020202020204" pitchFamily="34" charset="0"/>
              </a:defRPr>
            </a:lvl1pPr>
          </a:lstStyle>
          <a:p>
            <a:endParaRPr lang="en-US" dirty="0"/>
          </a:p>
        </p:txBody>
      </p:sp>
      <p:sp>
        <p:nvSpPr>
          <p:cNvPr id="13" name="Freeform: Shape 12">
            <a:extLst>
              <a:ext uri="{FF2B5EF4-FFF2-40B4-BE49-F238E27FC236}">
                <a16:creationId xmlns:a16="http://schemas.microsoft.com/office/drawing/2014/main" id="{22D601A5-6CEE-D258-CCEB-85D1BB27BD8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Arial" panose="020B0604020202020204" pitchFamily="34" charset="0"/>
              <a:cs typeface="Arial" panose="020B0604020202020204" pitchFamily="34" charset="0"/>
            </a:endParaRPr>
          </a:p>
        </p:txBody>
      </p:sp>
      <p:sp>
        <p:nvSpPr>
          <p:cNvPr id="5" name="Freeform: Shape 4">
            <a:extLst>
              <a:ext uri="{FF2B5EF4-FFF2-40B4-BE49-F238E27FC236}">
                <a16:creationId xmlns:a16="http://schemas.microsoft.com/office/drawing/2014/main" id="{2CA69924-8312-93A7-5F21-75AD30BAD2D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Arial" panose="020B0604020202020204" pitchFamily="34" charset="0"/>
              <a:cs typeface="Arial" panose="020B0604020202020204" pitchFamily="34" charset="0"/>
            </a:endParaRPr>
          </a:p>
        </p:txBody>
      </p:sp>
      <p:sp>
        <p:nvSpPr>
          <p:cNvPr id="7" name="Text">
            <a:extLst>
              <a:ext uri="{FF2B5EF4-FFF2-40B4-BE49-F238E27FC236}">
                <a16:creationId xmlns:a16="http://schemas.microsoft.com/office/drawing/2014/main" id="{C9847439-0418-5A3F-6AB6-209A489A7227}"/>
              </a:ext>
            </a:extLst>
          </p:cNvPr>
          <p:cNvSpPr>
            <a:spLocks noGrp="1"/>
          </p:cNvSpPr>
          <p:nvPr>
            <p:ph type="body" sz="quarter" idx="17" hasCustomPrompt="1"/>
          </p:nvPr>
        </p:nvSpPr>
        <p:spPr>
          <a:xfrm>
            <a:off x="365125" y="744041"/>
            <a:ext cx="11460163" cy="5497733"/>
          </a:xfrm>
        </p:spPr>
        <p:txBody>
          <a:bodyPr>
            <a:normAutofit/>
          </a:bodyPr>
          <a:lstStyle>
            <a:lvl1pPr marL="0" indent="0" algn="l" defTabSz="914400" rtl="0" eaLnBrk="1" latinLnBrk="0" hangingPunct="1">
              <a:lnSpc>
                <a:spcPct val="100000"/>
              </a:lnSpc>
              <a:spcAft>
                <a:spcPts val="600"/>
              </a:spcAft>
              <a:buNone/>
              <a:defRPr lang="en-US" sz="400" b="0" i="0" u="none" strike="noStrike" kern="1200" baseline="0" dirty="0" smtClean="0">
                <a:solidFill>
                  <a:srgbClr val="000000"/>
                </a:solidFill>
                <a:latin typeface="Arial" panose="020B0604020202020204" pitchFamily="34" charset="0"/>
                <a:ea typeface="+mn-ea"/>
                <a:cs typeface="Arial" panose="020B0604020202020204" pitchFamily="34" charset="0"/>
              </a:defRPr>
            </a:lvl1pPr>
            <a:lvl2pPr marL="0" algn="ctr" defTabSz="914400" rtl="0" eaLnBrk="1" latinLnBrk="0" hangingPunct="1">
              <a:lnSpc>
                <a:spcPct val="100000"/>
              </a:lnSpc>
              <a:spcAft>
                <a:spcPts val="600"/>
              </a:spcAft>
              <a:defRPr lang="en-US" sz="1600" b="0" i="0" u="none" strike="noStrike" kern="1200" baseline="0" dirty="0" smtClean="0">
                <a:solidFill>
                  <a:srgbClr val="000000"/>
                </a:solidFill>
                <a:latin typeface="Avenir Book" panose="02000503020000020003" pitchFamily="2" charset="0"/>
                <a:ea typeface="+mn-ea"/>
                <a:cs typeface="+mn-cs"/>
              </a:defRPr>
            </a:lvl2pPr>
            <a:lvl3pPr marL="0" algn="ctr" defTabSz="914400" rtl="0" eaLnBrk="1" latinLnBrk="0" hangingPunct="1">
              <a:lnSpc>
                <a:spcPct val="100000"/>
              </a:lnSpc>
              <a:spcAft>
                <a:spcPts val="600"/>
              </a:spcAft>
              <a:defRPr lang="en-US" sz="1600" b="0" i="0" u="none" strike="noStrike" kern="1200" baseline="0" dirty="0" smtClean="0">
                <a:solidFill>
                  <a:srgbClr val="000000"/>
                </a:solidFill>
                <a:latin typeface="Avenir Book" panose="02000503020000020003" pitchFamily="2" charset="0"/>
                <a:ea typeface="+mn-ea"/>
                <a:cs typeface="+mn-cs"/>
              </a:defRPr>
            </a:lvl3pPr>
            <a:lvl4pPr marL="0" algn="ctr" defTabSz="914400" rtl="0" eaLnBrk="1" latinLnBrk="0" hangingPunct="1">
              <a:lnSpc>
                <a:spcPct val="100000"/>
              </a:lnSpc>
              <a:spcAft>
                <a:spcPts val="600"/>
              </a:spcAft>
              <a:defRPr lang="en-US" sz="1600" b="0" i="0" u="none" strike="noStrike" kern="1200" baseline="0" dirty="0" smtClean="0">
                <a:solidFill>
                  <a:srgbClr val="000000"/>
                </a:solidFill>
                <a:latin typeface="Avenir Book" panose="02000503020000020003" pitchFamily="2" charset="0"/>
                <a:ea typeface="+mn-ea"/>
                <a:cs typeface="+mn-cs"/>
              </a:defRPr>
            </a:lvl4pPr>
          </a:lstStyle>
          <a:p>
            <a:pPr lvl="0"/>
            <a:r>
              <a:rPr lang="en-US" dirty="0"/>
              <a:t>XXX</a:t>
            </a:r>
          </a:p>
        </p:txBody>
      </p:sp>
    </p:spTree>
    <p:custDataLst>
      <p:tags r:id="rId1"/>
    </p:custDataLst>
    <p:extLst>
      <p:ext uri="{BB962C8B-B14F-4D97-AF65-F5344CB8AC3E}">
        <p14:creationId xmlns:p14="http://schemas.microsoft.com/office/powerpoint/2010/main" val="2022114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eparator_1">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p:custDataLst>
              <p:tags r:id="rId1"/>
            </p:custDataLst>
            <p:extLst>
              <p:ext uri="{D42A27DB-BD31-4B8C-83A1-F6EECF244321}">
                <p14:modId xmlns:p14="http://schemas.microsoft.com/office/powerpoint/2010/main" val="385112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atin typeface="Arial" panose="020B0604020202020204" pitchFamily="34" charset="0"/>
                <a:cs typeface="Arial" panose="020B0604020202020204" pitchFamily="34" charset="0"/>
              </a:defRPr>
            </a:lvl1pPr>
          </a:lstStyle>
          <a:p>
            <a:r>
              <a:rPr lang="en-US" dirty="0"/>
              <a:t>Click to enter section header title</a:t>
            </a:r>
          </a:p>
        </p:txBody>
      </p:sp>
      <p:sp>
        <p:nvSpPr>
          <p:cNvPr id="9" name="Subtitle">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ection subtitle</a:t>
            </a:r>
          </a:p>
        </p:txBody>
      </p:sp>
    </p:spTree>
    <p:extLst>
      <p:ext uri="{BB962C8B-B14F-4D97-AF65-F5344CB8AC3E}">
        <p14:creationId xmlns:p14="http://schemas.microsoft.com/office/powerpoint/2010/main" val="1808919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eparator_2">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76E86-C9B6-1B20-0470-A93E9FE76804}"/>
              </a:ext>
            </a:extLst>
          </p:cNvPr>
          <p:cNvGraphicFramePr>
            <a:graphicFrameLocks noChangeAspect="1"/>
          </p:cNvGraphicFramePr>
          <p:nvPr>
            <p:custDataLst>
              <p:tags r:id="rId2"/>
            </p:custDataLst>
            <p:extLst>
              <p:ext uri="{D42A27DB-BD31-4B8C-83A1-F6EECF244321}">
                <p14:modId xmlns:p14="http://schemas.microsoft.com/office/powerpoint/2010/main" val="594400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8276E86-C9B6-1B20-0470-A93E9FE768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a:extLst>
              <a:ext uri="{FF2B5EF4-FFF2-40B4-BE49-F238E27FC236}">
                <a16:creationId xmlns:a16="http://schemas.microsoft.com/office/drawing/2014/main" id="{7905DD1F-ADCE-21F5-3B42-348B73562E77}"/>
              </a:ext>
            </a:extLst>
          </p:cNvPr>
          <p:cNvSpPr>
            <a:spLocks noGrp="1"/>
          </p:cNvSpPr>
          <p:nvPr>
            <p:ph type="title" hasCustomPrompt="1"/>
          </p:nvPr>
        </p:nvSpPr>
        <p:spPr>
          <a:xfrm>
            <a:off x="365125" y="3235800"/>
            <a:ext cx="8651875" cy="1260000"/>
          </a:xfrm>
        </p:spPr>
        <p:txBody>
          <a:bodyPr vert="horz">
            <a:noAutofit/>
          </a:bodyPr>
          <a:lstStyle>
            <a:lvl1pPr>
              <a:defRPr sz="3600">
                <a:solidFill>
                  <a:schemeClr val="tx1">
                    <a:lumMod val="85000"/>
                    <a:lumOff val="15000"/>
                  </a:schemeClr>
                </a:solidFill>
                <a:latin typeface="Arial" panose="020B0604020202020204" pitchFamily="34" charset="0"/>
                <a:cs typeface="Arial" panose="020B0604020202020204" pitchFamily="34" charset="0"/>
              </a:defRPr>
            </a:lvl1pPr>
          </a:lstStyle>
          <a:p>
            <a:r>
              <a:rPr lang="en-US" dirty="0"/>
              <a:t>Click to enter section header title</a:t>
            </a:r>
          </a:p>
        </p:txBody>
      </p:sp>
      <p:sp>
        <p:nvSpPr>
          <p:cNvPr id="7" name="Subtitle">
            <a:extLst>
              <a:ext uri="{FF2B5EF4-FFF2-40B4-BE49-F238E27FC236}">
                <a16:creationId xmlns:a16="http://schemas.microsoft.com/office/drawing/2014/main" id="{1A65F606-CDCB-0367-61AA-199FECCB3A72}"/>
              </a:ext>
            </a:extLst>
          </p:cNvPr>
          <p:cNvSpPr>
            <a:spLocks noGrp="1"/>
          </p:cNvSpPr>
          <p:nvPr>
            <p:ph type="subTitle" idx="1" hasCustomPrompt="1"/>
          </p:nvPr>
        </p:nvSpPr>
        <p:spPr>
          <a:xfrm>
            <a:off x="365125" y="4514654"/>
            <a:ext cx="8651876"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1">
                    <a:lumMod val="85000"/>
                    <a:lumOff val="15000"/>
                  </a:schemeClr>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ection subtitle</a:t>
            </a:r>
          </a:p>
        </p:txBody>
      </p:sp>
    </p:spTree>
    <p:custDataLst>
      <p:tags r:id="rId1"/>
    </p:custDataLst>
    <p:extLst>
      <p:ext uri="{BB962C8B-B14F-4D97-AF65-F5344CB8AC3E}">
        <p14:creationId xmlns:p14="http://schemas.microsoft.com/office/powerpoint/2010/main" val="1471187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_summary">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B2B01611-90ED-549D-5ECE-4194D9228E08}"/>
              </a:ext>
            </a:extLst>
          </p:cNvPr>
          <p:cNvGraphicFramePr>
            <a:graphicFrameLocks noChangeAspect="1"/>
          </p:cNvGraphicFramePr>
          <p:nvPr userDrawn="1">
            <p:custDataLst>
              <p:tags r:id="rId2"/>
            </p:custDataLst>
            <p:extLst>
              <p:ext uri="{D42A27DB-BD31-4B8C-83A1-F6EECF244321}">
                <p14:modId xmlns:p14="http://schemas.microsoft.com/office/powerpoint/2010/main" val="3021514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4" imgH="425" progId="TCLayout.ActiveDocument.1">
                  <p:embed/>
                </p:oleObj>
              </mc:Choice>
              <mc:Fallback>
                <p:oleObj name="think-cell Slide" r:id="rId4" imgW="424" imgH="425" progId="TCLayout.ActiveDocument.1">
                  <p:embed/>
                  <p:pic>
                    <p:nvPicPr>
                      <p:cNvPr id="17" name="think-cell data - do not delete" hidden="1">
                        <a:extLst>
                          <a:ext uri="{FF2B5EF4-FFF2-40B4-BE49-F238E27FC236}">
                            <a16:creationId xmlns:a16="http://schemas.microsoft.com/office/drawing/2014/main" id="{B2B01611-90ED-549D-5ECE-4194D9228E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Box 1">
            <a:extLst>
              <a:ext uri="{FF2B5EF4-FFF2-40B4-BE49-F238E27FC236}">
                <a16:creationId xmlns:a16="http://schemas.microsoft.com/office/drawing/2014/main" id="{0AC59E1C-A015-4BA4-AB7D-EC00F37B815F}"/>
              </a:ext>
            </a:extLst>
          </p:cNvPr>
          <p:cNvSpPr/>
          <p:nvPr/>
        </p:nvSpPr>
        <p:spPr bwMode="auto">
          <a:xfrm>
            <a:off x="365126" y="1307574"/>
            <a:ext cx="1806576" cy="1118313"/>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dirty="0">
                <a:solidFill>
                  <a:schemeClr val="tx2"/>
                </a:solidFill>
                <a:latin typeface="+mj-lt"/>
              </a:rPr>
              <a:t>Objectives</a:t>
            </a:r>
          </a:p>
        </p:txBody>
      </p:sp>
      <p:sp>
        <p:nvSpPr>
          <p:cNvPr id="3" name="Footer Placeholder 2">
            <a:extLst>
              <a:ext uri="{FF2B5EF4-FFF2-40B4-BE49-F238E27FC236}">
                <a16:creationId xmlns:a16="http://schemas.microsoft.com/office/drawing/2014/main" id="{9B773ECA-2D04-B6E9-1FB4-377F08AA5D14}"/>
              </a:ext>
            </a:extLst>
          </p:cNvPr>
          <p:cNvSpPr>
            <a:spLocks noGrp="1"/>
          </p:cNvSpPr>
          <p:nvPr>
            <p:ph type="ftr" sz="quarter" idx="10"/>
          </p:nvPr>
        </p:nvSpPr>
        <p:spPr/>
        <p:txBody>
          <a:bodyPr/>
          <a:lstStyle>
            <a:lvl1pPr>
              <a:defRPr>
                <a:latin typeface="+mj-lt"/>
              </a:defRPr>
            </a:lvl1pPr>
          </a:lstStyle>
          <a:p>
            <a:endParaRPr lang="en-GB" dirty="0"/>
          </a:p>
        </p:txBody>
      </p:sp>
      <p:sp>
        <p:nvSpPr>
          <p:cNvPr id="4" name="Slide Number Placeholder 3">
            <a:extLst>
              <a:ext uri="{FF2B5EF4-FFF2-40B4-BE49-F238E27FC236}">
                <a16:creationId xmlns:a16="http://schemas.microsoft.com/office/drawing/2014/main" id="{C3976886-926E-8975-E95D-5BCD6F82EEEF}"/>
              </a:ext>
            </a:extLst>
          </p:cNvPr>
          <p:cNvSpPr>
            <a:spLocks noGrp="1"/>
          </p:cNvSpPr>
          <p:nvPr>
            <p:ph type="sldNum" sz="quarter" idx="11"/>
          </p:nvPr>
        </p:nvSpPr>
        <p:spPr/>
        <p:txBody>
          <a:bodyPr/>
          <a:lstStyle>
            <a:lvl1pPr>
              <a:defRPr>
                <a:latin typeface="+mj-lt"/>
              </a:defRPr>
            </a:lvl1pPr>
          </a:lstStyle>
          <a:p>
            <a:fld id="{9F9F533D-B52E-4A2F-BF72-0ADD2D94BD75}" type="slidenum">
              <a:rPr lang="en-GB" smtClean="0"/>
              <a:pPr/>
              <a:t>‹#›</a:t>
            </a:fld>
            <a:endParaRPr lang="en-GB" dirty="0"/>
          </a:p>
        </p:txBody>
      </p:sp>
      <p:sp>
        <p:nvSpPr>
          <p:cNvPr id="5" name="Date Placeholder 4">
            <a:extLst>
              <a:ext uri="{FF2B5EF4-FFF2-40B4-BE49-F238E27FC236}">
                <a16:creationId xmlns:a16="http://schemas.microsoft.com/office/drawing/2014/main" id="{A15E9B4D-B613-11AE-72F8-5A0C3EBFD95A}"/>
              </a:ext>
            </a:extLst>
          </p:cNvPr>
          <p:cNvSpPr>
            <a:spLocks noGrp="1"/>
          </p:cNvSpPr>
          <p:nvPr>
            <p:ph type="dt" sz="half" idx="12"/>
          </p:nvPr>
        </p:nvSpPr>
        <p:spPr/>
        <p:txBody>
          <a:bodyPr/>
          <a:lstStyle>
            <a:lvl1pPr>
              <a:defRPr>
                <a:latin typeface="+mj-lt"/>
              </a:defRPr>
            </a:lvl1pPr>
          </a:lstStyle>
          <a:p>
            <a:fld id="{346B58B4-0D72-4C8B-9355-854FB5782278}" type="datetime4">
              <a:rPr lang="en-GB" smtClean="0"/>
              <a:pPr/>
              <a:t>21 August 2025</a:t>
            </a:fld>
            <a:endParaRPr lang="en-GB" dirty="0"/>
          </a:p>
        </p:txBody>
      </p:sp>
      <p:sp>
        <p:nvSpPr>
          <p:cNvPr id="6" name="Title">
            <a:extLst>
              <a:ext uri="{FF2B5EF4-FFF2-40B4-BE49-F238E27FC236}">
                <a16:creationId xmlns:a16="http://schemas.microsoft.com/office/drawing/2014/main" id="{25ABB6F2-78D4-BCC3-D950-5FAF7FCB8FDD}"/>
              </a:ext>
            </a:extLst>
          </p:cNvPr>
          <p:cNvSpPr>
            <a:spLocks noGrp="1"/>
          </p:cNvSpPr>
          <p:nvPr>
            <p:ph type="title" hasCustomPrompt="1"/>
          </p:nvPr>
        </p:nvSpPr>
        <p:spPr>
          <a:xfrm>
            <a:off x="365125" y="242888"/>
            <a:ext cx="11453017" cy="430887"/>
          </a:xfrm>
        </p:spPr>
        <p:txBody>
          <a:bodyPr vert="horz"/>
          <a:lstStyle>
            <a:lvl1pPr>
              <a:defRPr>
                <a:latin typeface="+mj-lt"/>
              </a:defRPr>
            </a:lvl1pPr>
          </a:lstStyle>
          <a:p>
            <a:r>
              <a:rPr lang="en-US" dirty="0"/>
              <a:t>Executive Summary of the MMM Results for XXX</a:t>
            </a:r>
          </a:p>
        </p:txBody>
      </p:sp>
      <p:sp>
        <p:nvSpPr>
          <p:cNvPr id="7" name="Subtitle">
            <a:extLst>
              <a:ext uri="{FF2B5EF4-FFF2-40B4-BE49-F238E27FC236}">
                <a16:creationId xmlns:a16="http://schemas.microsoft.com/office/drawing/2014/main" id="{FA46E8B4-4C83-8DD1-80BB-CC03BD24AFCC}"/>
              </a:ext>
            </a:extLst>
          </p:cNvPr>
          <p:cNvSpPr>
            <a:spLocks noGrp="1"/>
          </p:cNvSpPr>
          <p:nvPr>
            <p:ph type="subTitle" idx="1" hasCustomPrompt="1"/>
          </p:nvPr>
        </p:nvSpPr>
        <p:spPr>
          <a:xfrm>
            <a:off x="365125" y="694950"/>
            <a:ext cx="11453017"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Report objective: AWARENESS (results and learnings)</a:t>
            </a:r>
          </a:p>
        </p:txBody>
      </p:sp>
      <p:sp>
        <p:nvSpPr>
          <p:cNvPr id="90" name="Freeform: Shape 89">
            <a:extLst>
              <a:ext uri="{FF2B5EF4-FFF2-40B4-BE49-F238E27FC236}">
                <a16:creationId xmlns:a16="http://schemas.microsoft.com/office/drawing/2014/main" id="{9EA22563-2363-AB1F-DC9F-7A5457933645}"/>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mj-lt"/>
            </a:endParaRPr>
          </a:p>
        </p:txBody>
      </p:sp>
      <p:sp>
        <p:nvSpPr>
          <p:cNvPr id="54" name="Text 1">
            <a:extLst>
              <a:ext uri="{FF2B5EF4-FFF2-40B4-BE49-F238E27FC236}">
                <a16:creationId xmlns:a16="http://schemas.microsoft.com/office/drawing/2014/main" id="{82C5C591-14F5-449A-187A-1D9A683E961E}"/>
              </a:ext>
            </a:extLst>
          </p:cNvPr>
          <p:cNvSpPr>
            <a:spLocks noGrp="1"/>
          </p:cNvSpPr>
          <p:nvPr>
            <p:ph type="body" sz="quarter" idx="44" hasCustomPrompt="1"/>
          </p:nvPr>
        </p:nvSpPr>
        <p:spPr>
          <a:xfrm>
            <a:off x="2260405" y="1307574"/>
            <a:ext cx="9557738" cy="1118313"/>
          </a:xfrm>
          <a:prstGeom prst="rect">
            <a:avLst/>
          </a:prstGeom>
          <a:solidFill>
            <a:schemeClr val="bg1">
              <a:lumMod val="95000"/>
            </a:schemeClr>
          </a:solidFill>
          <a:ln>
            <a:noFill/>
          </a:ln>
        </p:spPr>
        <p:txBody>
          <a:bodyPr wrap="square" lIns="180000" tIns="144000" rIns="0" bIns="72000" anchor="t" anchorCtr="0">
            <a:noAutofit/>
          </a:bodyPr>
          <a:lstStyle>
            <a:lvl1pPr marL="228600" indent="-228600">
              <a:spcBef>
                <a:spcPts val="300"/>
              </a:spcBef>
              <a:spcAft>
                <a:spcPts val="300"/>
              </a:spcAft>
              <a:buSzPct val="100000"/>
              <a:buFont typeface="+mj-lt"/>
              <a:buAutoNum type="arabicPeriod"/>
              <a:defRPr sz="1200">
                <a:latin typeface="+mj-lt"/>
              </a:defRPr>
            </a:lvl1pPr>
            <a:lvl2pPr marL="357542" indent="0">
              <a:buNone/>
              <a:defRPr/>
            </a:lvl2pPr>
          </a:lstStyle>
          <a:p>
            <a:pPr marL="342900" marR="0" lvl="0" indent="-342900" algn="l" defTabSz="1219170" rtl="0" eaLnBrk="1" fontAlgn="auto" latinLnBrk="0" hangingPunct="1">
              <a:lnSpc>
                <a:spcPct val="100000"/>
              </a:lnSpc>
              <a:spcBef>
                <a:spcPts val="300"/>
              </a:spcBef>
              <a:spcAft>
                <a:spcPts val="300"/>
              </a:spcAft>
              <a:buClr>
                <a:schemeClr val="tx2"/>
              </a:buClr>
              <a:buSzPct val="100000"/>
              <a:buFont typeface="+mj-lt"/>
              <a:buAutoNum type="arabicPeriod"/>
              <a:tabLst/>
              <a:defRPr/>
            </a:pPr>
            <a:r>
              <a:rPr lang="en-US" dirty="0"/>
              <a:t>DECISION: To seek X’s [single point accountable decision maker] decision to implement A</a:t>
            </a:r>
            <a:br>
              <a:rPr lang="en-US" dirty="0"/>
            </a:br>
            <a:r>
              <a:rPr lang="en-US" dirty="0"/>
              <a:t>INPUT: To receive input to the proposed plan for B</a:t>
            </a:r>
            <a:br>
              <a:rPr lang="en-US" dirty="0"/>
            </a:br>
            <a:r>
              <a:rPr lang="en-US" dirty="0"/>
              <a:t>AWARENESS: To update XXX regarding C</a:t>
            </a:r>
            <a:br>
              <a:rPr lang="en-US" dirty="0"/>
            </a:br>
            <a:br>
              <a:rPr lang="en-US" dirty="0"/>
            </a:br>
            <a:r>
              <a:rPr lang="en-US" dirty="0"/>
              <a:t>Up to 5 clear, focused objectives: (</a:t>
            </a:r>
            <a:r>
              <a:rPr lang="en-US" dirty="0" err="1"/>
              <a:t>i</a:t>
            </a:r>
            <a:r>
              <a:rPr lang="en-US" dirty="0"/>
              <a:t>) for decision, (ii) for input, (iii) for awareness</a:t>
            </a:r>
          </a:p>
          <a:p>
            <a:pPr lvl="0"/>
            <a:endParaRPr lang="en-US" dirty="0"/>
          </a:p>
        </p:txBody>
      </p:sp>
      <p:sp>
        <p:nvSpPr>
          <p:cNvPr id="55" name="Text 2">
            <a:extLst>
              <a:ext uri="{FF2B5EF4-FFF2-40B4-BE49-F238E27FC236}">
                <a16:creationId xmlns:a16="http://schemas.microsoft.com/office/drawing/2014/main" id="{54077D3A-2E14-68B6-5E16-413475F36C3A}"/>
              </a:ext>
            </a:extLst>
          </p:cNvPr>
          <p:cNvSpPr>
            <a:spLocks noGrp="1"/>
          </p:cNvSpPr>
          <p:nvPr>
            <p:ph type="body" sz="quarter" idx="45" hasCustomPrompt="1"/>
          </p:nvPr>
        </p:nvSpPr>
        <p:spPr>
          <a:xfrm>
            <a:off x="2260405" y="2517951"/>
            <a:ext cx="9557738" cy="1118313"/>
          </a:xfrm>
          <a:prstGeom prst="rect">
            <a:avLst/>
          </a:prstGeom>
          <a:solidFill>
            <a:schemeClr val="bg1">
              <a:lumMod val="95000"/>
            </a:schemeClr>
          </a:solidFill>
          <a:ln>
            <a:noFill/>
          </a:ln>
        </p:spPr>
        <p:txBody>
          <a:bodyPr vert="horz" wrap="square" lIns="180000" tIns="144000" rIns="0" bIns="72000" rtlCol="0" anchor="t" anchorCtr="0">
            <a:noAutofit/>
          </a:bodyPr>
          <a:lstStyle>
            <a:lvl1pPr>
              <a:buFont typeface="+mj-lt"/>
              <a:buAutoNum type="arabicPeriod"/>
              <a:defRPr lang="en-US" sz="1200" dirty="0">
                <a:latin typeface="+mj-lt"/>
              </a:defRPr>
            </a:lvl1pPr>
          </a:lstStyle>
          <a:p>
            <a:pPr marL="359991" marR="0" lvl="0" indent="-359991" fontAlgn="auto">
              <a:lnSpc>
                <a:spcPct val="100000"/>
              </a:lnSpc>
              <a:buSzPct val="100000"/>
              <a:tabLst/>
            </a:pPr>
            <a:r>
              <a:rPr lang="en-US" dirty="0"/>
              <a:t>Does XXX have further input on the proposals set out or require additional information?</a:t>
            </a:r>
            <a:br>
              <a:rPr lang="en-US" dirty="0"/>
            </a:br>
            <a:r>
              <a:rPr lang="en-US" dirty="0"/>
              <a:t>Is XXX supportive of the recommendation to x, y, z?</a:t>
            </a:r>
            <a:br>
              <a:rPr lang="en-US" dirty="0"/>
            </a:br>
            <a:r>
              <a:rPr lang="en-US" dirty="0"/>
              <a:t>Does XXX support the approach outlined to x, y, z?</a:t>
            </a:r>
            <a:br>
              <a:rPr lang="en-US" dirty="0"/>
            </a:br>
            <a:br>
              <a:rPr lang="en-US" dirty="0"/>
            </a:br>
            <a:r>
              <a:rPr lang="en-US" dirty="0"/>
              <a:t>Up to 5 key questions to be addressed at the meeting</a:t>
            </a:r>
          </a:p>
        </p:txBody>
      </p:sp>
      <p:sp>
        <p:nvSpPr>
          <p:cNvPr id="56" name="Text 3">
            <a:extLst>
              <a:ext uri="{FF2B5EF4-FFF2-40B4-BE49-F238E27FC236}">
                <a16:creationId xmlns:a16="http://schemas.microsoft.com/office/drawing/2014/main" id="{5DE7D720-AF89-6DE4-D2E5-33C7B01B7E91}"/>
              </a:ext>
            </a:extLst>
          </p:cNvPr>
          <p:cNvSpPr>
            <a:spLocks noGrp="1"/>
          </p:cNvSpPr>
          <p:nvPr>
            <p:ph type="body" sz="quarter" idx="46" hasCustomPrompt="1"/>
          </p:nvPr>
        </p:nvSpPr>
        <p:spPr>
          <a:xfrm>
            <a:off x="2269136" y="3728328"/>
            <a:ext cx="9557738" cy="1220221"/>
          </a:xfrm>
          <a:prstGeom prst="rect">
            <a:avLst/>
          </a:prstGeom>
          <a:solidFill>
            <a:schemeClr val="bg1">
              <a:lumMod val="95000"/>
            </a:schemeClr>
          </a:solidFill>
          <a:ln>
            <a:noFill/>
          </a:ln>
        </p:spPr>
        <p:txBody>
          <a:bodyPr vert="horz" wrap="square" lIns="180000" tIns="144000" rIns="0" bIns="72000" rtlCol="0" anchor="t" anchorCtr="0">
            <a:noAutofit/>
          </a:bodyPr>
          <a:lstStyle>
            <a:lvl1pPr>
              <a:buFont typeface="+mj-lt"/>
              <a:buAutoNum type="arabicPeriod"/>
              <a:defRPr lang="en-US" sz="1200" dirty="0">
                <a:latin typeface="+mj-lt"/>
              </a:defRPr>
            </a:lvl1pPr>
          </a:lstStyle>
          <a:p>
            <a:pPr marL="359991" marR="0" lvl="0" indent="-359991" fontAlgn="auto">
              <a:lnSpc>
                <a:spcPct val="100000"/>
              </a:lnSpc>
              <a:buSzPct val="100000"/>
              <a:tabLst/>
            </a:pPr>
            <a:r>
              <a:rPr lang="en-US" dirty="0"/>
              <a:t>Key steps following XXX review / decision</a:t>
            </a:r>
          </a:p>
        </p:txBody>
      </p:sp>
      <p:sp>
        <p:nvSpPr>
          <p:cNvPr id="57" name="Text 4">
            <a:extLst>
              <a:ext uri="{FF2B5EF4-FFF2-40B4-BE49-F238E27FC236}">
                <a16:creationId xmlns:a16="http://schemas.microsoft.com/office/drawing/2014/main" id="{8C53FB3B-975B-80D5-29B3-81DC27DCAC8F}"/>
              </a:ext>
            </a:extLst>
          </p:cNvPr>
          <p:cNvSpPr>
            <a:spLocks noGrp="1"/>
          </p:cNvSpPr>
          <p:nvPr>
            <p:ph type="body" sz="quarter" idx="48" hasCustomPrompt="1"/>
          </p:nvPr>
        </p:nvSpPr>
        <p:spPr>
          <a:xfrm>
            <a:off x="2260405" y="5049606"/>
            <a:ext cx="9557738" cy="1113444"/>
          </a:xfrm>
          <a:prstGeom prst="rect">
            <a:avLst/>
          </a:prstGeom>
          <a:solidFill>
            <a:schemeClr val="bg1">
              <a:lumMod val="95000"/>
            </a:schemeClr>
          </a:solidFill>
          <a:ln>
            <a:noFill/>
          </a:ln>
        </p:spPr>
        <p:txBody>
          <a:bodyPr vert="horz" wrap="square" lIns="180000" tIns="144000" rIns="0" bIns="72000" rtlCol="0" anchor="t" anchorCtr="0">
            <a:noAutofit/>
          </a:bodyPr>
          <a:lstStyle>
            <a:lvl1pPr>
              <a:defRPr lang="en-US" sz="1200" dirty="0">
                <a:latin typeface="+mj-lt"/>
              </a:defRPr>
            </a:lvl1pPr>
          </a:lstStyle>
          <a:p>
            <a:pPr marL="342900" marR="0" lvl="0" indent="-342900" fontAlgn="auto">
              <a:lnSpc>
                <a:spcPct val="100000"/>
              </a:lnSpc>
              <a:buSzPct val="100000"/>
              <a:buFont typeface="+mj-lt"/>
              <a:buAutoNum type="arabicPeriod"/>
              <a:tabLst/>
            </a:pPr>
            <a:r>
              <a:rPr lang="en-US" dirty="0"/>
              <a:t>Single person accountable for this topic / paper</a:t>
            </a:r>
          </a:p>
        </p:txBody>
      </p:sp>
      <p:sp>
        <p:nvSpPr>
          <p:cNvPr id="8" name="Box 2">
            <a:extLst>
              <a:ext uri="{FF2B5EF4-FFF2-40B4-BE49-F238E27FC236}">
                <a16:creationId xmlns:a16="http://schemas.microsoft.com/office/drawing/2014/main" id="{3B9E051E-8049-FCFD-A54B-E240AC53D1B2}"/>
              </a:ext>
            </a:extLst>
          </p:cNvPr>
          <p:cNvSpPr>
            <a:spLocks/>
          </p:cNvSpPr>
          <p:nvPr userDrawn="1"/>
        </p:nvSpPr>
        <p:spPr bwMode="auto">
          <a:xfrm>
            <a:off x="373857" y="2519336"/>
            <a:ext cx="1806576" cy="111831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dirty="0">
                <a:solidFill>
                  <a:schemeClr val="tx2"/>
                </a:solidFill>
                <a:latin typeface="+mj-lt"/>
              </a:rPr>
              <a:t>Modeling Approach</a:t>
            </a:r>
          </a:p>
        </p:txBody>
      </p:sp>
      <p:sp>
        <p:nvSpPr>
          <p:cNvPr id="9" name="Box 3">
            <a:extLst>
              <a:ext uri="{FF2B5EF4-FFF2-40B4-BE49-F238E27FC236}">
                <a16:creationId xmlns:a16="http://schemas.microsoft.com/office/drawing/2014/main" id="{DCE8FC5E-A678-F4F9-6FC7-EEAB2E69AF78}"/>
              </a:ext>
            </a:extLst>
          </p:cNvPr>
          <p:cNvSpPr>
            <a:spLocks/>
          </p:cNvSpPr>
          <p:nvPr userDrawn="1"/>
        </p:nvSpPr>
        <p:spPr bwMode="auto">
          <a:xfrm>
            <a:off x="373857" y="3728328"/>
            <a:ext cx="1806576" cy="1230599"/>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dirty="0">
                <a:solidFill>
                  <a:schemeClr val="tx2"/>
                </a:solidFill>
                <a:latin typeface="+mj-lt"/>
              </a:rPr>
              <a:t>Directional </a:t>
            </a:r>
            <a:br>
              <a:rPr lang="en-US" sz="1600" b="1" dirty="0">
                <a:solidFill>
                  <a:schemeClr val="tx2"/>
                </a:solidFill>
                <a:latin typeface="+mj-lt"/>
              </a:rPr>
            </a:br>
            <a:r>
              <a:rPr lang="en-US" sz="1600" b="1" dirty="0">
                <a:solidFill>
                  <a:schemeClr val="tx2"/>
                </a:solidFill>
                <a:latin typeface="+mj-lt"/>
              </a:rPr>
              <a:t>Insights</a:t>
            </a:r>
          </a:p>
        </p:txBody>
      </p:sp>
      <p:sp>
        <p:nvSpPr>
          <p:cNvPr id="11" name="Box 4">
            <a:extLst>
              <a:ext uri="{FF2B5EF4-FFF2-40B4-BE49-F238E27FC236}">
                <a16:creationId xmlns:a16="http://schemas.microsoft.com/office/drawing/2014/main" id="{B25B3DF6-C945-56A1-A6D2-AC4E6E31179A}"/>
              </a:ext>
            </a:extLst>
          </p:cNvPr>
          <p:cNvSpPr/>
          <p:nvPr userDrawn="1"/>
        </p:nvSpPr>
        <p:spPr bwMode="auto">
          <a:xfrm>
            <a:off x="365126" y="5049606"/>
            <a:ext cx="1806576" cy="111344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dirty="0">
                <a:solidFill>
                  <a:schemeClr val="tx2"/>
                </a:solidFill>
                <a:latin typeface="+mj-lt"/>
              </a:rPr>
              <a:t>Learnings</a:t>
            </a:r>
          </a:p>
        </p:txBody>
      </p:sp>
      <p:sp>
        <p:nvSpPr>
          <p:cNvPr id="14" name="Freeform: Shape 13">
            <a:extLst>
              <a:ext uri="{FF2B5EF4-FFF2-40B4-BE49-F238E27FC236}">
                <a16:creationId xmlns:a16="http://schemas.microsoft.com/office/drawing/2014/main" id="{3B4A7AA8-50D7-2FFC-F51D-207317C17DE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mj-lt"/>
            </a:endParaRPr>
          </a:p>
        </p:txBody>
      </p:sp>
    </p:spTree>
    <p:custDataLst>
      <p:tags r:id="rId1"/>
    </p:custDataLst>
    <p:extLst>
      <p:ext uri="{BB962C8B-B14F-4D97-AF65-F5344CB8AC3E}">
        <p14:creationId xmlns:p14="http://schemas.microsoft.com/office/powerpoint/2010/main" val="5629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5C8471B-83F4-81DE-6C65-42BBC31F091E}"/>
              </a:ext>
            </a:extLst>
          </p:cNvPr>
          <p:cNvGraphicFramePr>
            <a:graphicFrameLocks noChangeAspect="1"/>
          </p:cNvGraphicFramePr>
          <p:nvPr userDrawn="1">
            <p:custDataLst>
              <p:tags r:id="rId2"/>
            </p:custDataLst>
            <p:extLst>
              <p:ext uri="{D42A27DB-BD31-4B8C-83A1-F6EECF244321}">
                <p14:modId xmlns:p14="http://schemas.microsoft.com/office/powerpoint/2010/main" val="1025517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4" imgH="425" progId="TCLayout.ActiveDocument.1">
                  <p:embed/>
                </p:oleObj>
              </mc:Choice>
              <mc:Fallback>
                <p:oleObj name="think-cell Slide" r:id="rId4" imgW="424" imgH="425" progId="TCLayout.ActiveDocument.1">
                  <p:embed/>
                  <p:pic>
                    <p:nvPicPr>
                      <p:cNvPr id="7" name="think-cell data - do not delete" hidden="1">
                        <a:extLst>
                          <a:ext uri="{FF2B5EF4-FFF2-40B4-BE49-F238E27FC236}">
                            <a16:creationId xmlns:a16="http://schemas.microsoft.com/office/drawing/2014/main" id="{E5C8471B-83F4-81DE-6C65-42BBC31F09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ext">
            <a:extLst>
              <a:ext uri="{FF2B5EF4-FFF2-40B4-BE49-F238E27FC236}">
                <a16:creationId xmlns:a16="http://schemas.microsoft.com/office/drawing/2014/main" id="{0DD48070-D695-60C2-898C-9832D9369B0C}"/>
              </a:ext>
            </a:extLst>
          </p:cNvPr>
          <p:cNvSpPr>
            <a:spLocks noGrp="1"/>
          </p:cNvSpPr>
          <p:nvPr>
            <p:ph type="body" sz="quarter" idx="22" hasCustomPrompt="1"/>
          </p:nvPr>
        </p:nvSpPr>
        <p:spPr>
          <a:xfrm>
            <a:off x="365125" y="1311161"/>
            <a:ext cx="11460164" cy="4922661"/>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36000">
            <a:noAutofit/>
          </a:bodyPr>
          <a:lstStyle>
            <a:lvl1pPr marL="342900" indent="-342900">
              <a:buFont typeface="Arial" panose="020B0604020202020204" pitchFamily="34" charset="0"/>
              <a:buChar char="•"/>
              <a:defRPr sz="2000" b="0">
                <a:latin typeface="+mj-lt"/>
              </a:defRPr>
            </a:lvl1pPr>
            <a:lvl2pPr marL="357542" indent="0">
              <a:buNone/>
              <a:defRPr/>
            </a:lvl2pPr>
            <a:lvl3pPr marL="719982" indent="0">
              <a:buNone/>
              <a:defRPr/>
            </a:lvl3pPr>
            <a:lvl4pPr marL="1081424" indent="0">
              <a:buNone/>
              <a:defRPr/>
            </a:lvl4pPr>
            <a:lvl5pPr marL="1439964" indent="0">
              <a:buNone/>
              <a:defRPr/>
            </a:lvl5pPr>
          </a:lstStyle>
          <a:p>
            <a:pPr lvl="0"/>
            <a:r>
              <a:rPr lang="en-US" dirty="0"/>
              <a:t>Click to enter TEXT content ONLY.</a:t>
            </a:r>
            <a:br>
              <a:rPr lang="en-US" dirty="0"/>
            </a:br>
            <a:r>
              <a:rPr lang="en-US" dirty="0"/>
              <a:t>If text content appears outside of grey holder please reduce the size of the font.</a:t>
            </a:r>
          </a:p>
        </p:txBody>
      </p:sp>
      <p:sp>
        <p:nvSpPr>
          <p:cNvPr id="3" name="Date Placeholder 2">
            <a:extLst>
              <a:ext uri="{FF2B5EF4-FFF2-40B4-BE49-F238E27FC236}">
                <a16:creationId xmlns:a16="http://schemas.microsoft.com/office/drawing/2014/main" id="{341B731B-8FAA-4A1B-8740-D7002967C1CA}"/>
              </a:ext>
            </a:extLst>
          </p:cNvPr>
          <p:cNvSpPr>
            <a:spLocks noGrp="1"/>
          </p:cNvSpPr>
          <p:nvPr>
            <p:ph type="dt" sz="half" idx="19"/>
          </p:nvPr>
        </p:nvSpPr>
        <p:spPr/>
        <p:txBody>
          <a:bodyPr/>
          <a:lstStyle>
            <a:lvl1pPr>
              <a:defRPr>
                <a:latin typeface="+mj-lt"/>
              </a:defRPr>
            </a:lvl1pPr>
          </a:lstStyle>
          <a:p>
            <a:fld id="{DB124F8D-6A21-41BB-B641-CA493D4F9456}" type="datetime4">
              <a:rPr lang="en-GB" smtClean="0"/>
              <a:pPr/>
              <a:t>21 August 2025</a:t>
            </a:fld>
            <a:endParaRPr lang="en-GB" dirty="0"/>
          </a:p>
        </p:txBody>
      </p:sp>
      <p:sp>
        <p:nvSpPr>
          <p:cNvPr id="5" name="Footer Placeholder 4">
            <a:extLst>
              <a:ext uri="{FF2B5EF4-FFF2-40B4-BE49-F238E27FC236}">
                <a16:creationId xmlns:a16="http://schemas.microsoft.com/office/drawing/2014/main" id="{D1C84BE9-25CA-45B1-9061-9DCABA70A1E6}"/>
              </a:ext>
            </a:extLst>
          </p:cNvPr>
          <p:cNvSpPr>
            <a:spLocks noGrp="1"/>
          </p:cNvSpPr>
          <p:nvPr>
            <p:ph type="ftr" sz="quarter" idx="20"/>
          </p:nvPr>
        </p:nvSpPr>
        <p:spPr/>
        <p:txBody>
          <a:bodyPr/>
          <a:lstStyle>
            <a:lvl1pPr>
              <a:defRPr>
                <a:latin typeface="+mj-lt"/>
              </a:defRPr>
            </a:lvl1pPr>
          </a:lstStyle>
          <a:p>
            <a:endParaRPr lang="en-GB" dirty="0"/>
          </a:p>
        </p:txBody>
      </p:sp>
      <p:sp>
        <p:nvSpPr>
          <p:cNvPr id="11" name="Slide Number Placeholder 10">
            <a:extLst>
              <a:ext uri="{FF2B5EF4-FFF2-40B4-BE49-F238E27FC236}">
                <a16:creationId xmlns:a16="http://schemas.microsoft.com/office/drawing/2014/main" id="{BF0296A1-E119-4AEC-80A5-65FD719F9631}"/>
              </a:ext>
            </a:extLst>
          </p:cNvPr>
          <p:cNvSpPr>
            <a:spLocks noGrp="1"/>
          </p:cNvSpPr>
          <p:nvPr>
            <p:ph type="sldNum" sz="quarter" idx="21"/>
          </p:nvPr>
        </p:nvSpPr>
        <p:spPr/>
        <p:txBody>
          <a:bodyPr/>
          <a:lstStyle>
            <a:lvl1pPr>
              <a:defRPr>
                <a:latin typeface="+mj-lt"/>
              </a:defRPr>
            </a:lvl1pPr>
          </a:lstStyle>
          <a:p>
            <a:fld id="{9F9F533D-B52E-4A2F-BF72-0ADD2D94BD75}" type="slidenum">
              <a:rPr lang="en-GB" smtClean="0"/>
              <a:pPr/>
              <a:t>‹#›</a:t>
            </a:fld>
            <a:endParaRPr lang="en-GB" dirty="0"/>
          </a:p>
        </p:txBody>
      </p:sp>
      <p:sp>
        <p:nvSpPr>
          <p:cNvPr id="12" name="Title">
            <a:extLst>
              <a:ext uri="{FF2B5EF4-FFF2-40B4-BE49-F238E27FC236}">
                <a16:creationId xmlns:a16="http://schemas.microsoft.com/office/drawing/2014/main" id="{88C0D48C-007D-FEEC-D1DF-C00891876F0F}"/>
              </a:ext>
            </a:extLst>
          </p:cNvPr>
          <p:cNvSpPr>
            <a:spLocks noGrp="1"/>
          </p:cNvSpPr>
          <p:nvPr>
            <p:ph type="title"/>
          </p:nvPr>
        </p:nvSpPr>
        <p:spPr>
          <a:xfrm>
            <a:off x="365125" y="242888"/>
            <a:ext cx="11460163" cy="430887"/>
          </a:xfrm>
        </p:spPr>
        <p:txBody>
          <a:bodyPr vert="horz"/>
          <a:lstStyle>
            <a:lvl1pPr>
              <a:defRPr>
                <a:latin typeface="+mj-lt"/>
              </a:defRPr>
            </a:lvl1pPr>
          </a:lstStyle>
          <a:p>
            <a:r>
              <a:rPr lang="en-US" dirty="0"/>
              <a:t>Click to edit Master title style</a:t>
            </a:r>
          </a:p>
        </p:txBody>
      </p:sp>
      <p:sp>
        <p:nvSpPr>
          <p:cNvPr id="13" name="Subtitle">
            <a:extLst>
              <a:ext uri="{FF2B5EF4-FFF2-40B4-BE49-F238E27FC236}">
                <a16:creationId xmlns:a16="http://schemas.microsoft.com/office/drawing/2014/main" id="{1F6E4BF1-5B10-6CC3-60CB-FA773CAB8AF3}"/>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b="0" i="0">
                <a:solidFill>
                  <a:schemeClr val="tx1"/>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4" name="Freeform: Shape 13">
            <a:extLst>
              <a:ext uri="{FF2B5EF4-FFF2-40B4-BE49-F238E27FC236}">
                <a16:creationId xmlns:a16="http://schemas.microsoft.com/office/drawing/2014/main" id="{099DCD39-6F77-D442-9C41-7FE9A4CBB7FE}"/>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mj-lt"/>
            </a:endParaRPr>
          </a:p>
        </p:txBody>
      </p:sp>
      <p:sp>
        <p:nvSpPr>
          <p:cNvPr id="2" name="Freeform: Shape 1">
            <a:extLst>
              <a:ext uri="{FF2B5EF4-FFF2-40B4-BE49-F238E27FC236}">
                <a16:creationId xmlns:a16="http://schemas.microsoft.com/office/drawing/2014/main" id="{B0002D55-6A06-5683-C312-CA5DFDAEEB1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mj-lt"/>
            </a:endParaRPr>
          </a:p>
        </p:txBody>
      </p:sp>
    </p:spTree>
    <p:custDataLst>
      <p:tags r:id="rId1"/>
    </p:custDataLst>
    <p:extLst>
      <p:ext uri="{BB962C8B-B14F-4D97-AF65-F5344CB8AC3E}">
        <p14:creationId xmlns:p14="http://schemas.microsoft.com/office/powerpoint/2010/main" val="408327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odel_design">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24950EA-7FEC-91CE-2FDC-D2595F5E8F73}"/>
              </a:ext>
            </a:extLst>
          </p:cNvPr>
          <p:cNvGraphicFramePr>
            <a:graphicFrameLocks noChangeAspect="1"/>
          </p:cNvGraphicFramePr>
          <p:nvPr userDrawn="1">
            <p:custDataLst>
              <p:tags r:id="rId2"/>
            </p:custDataLst>
            <p:extLst>
              <p:ext uri="{D42A27DB-BD31-4B8C-83A1-F6EECF244321}">
                <p14:modId xmlns:p14="http://schemas.microsoft.com/office/powerpoint/2010/main" val="2331477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4" imgH="425" progId="TCLayout.ActiveDocument.1">
                  <p:embed/>
                </p:oleObj>
              </mc:Choice>
              <mc:Fallback>
                <p:oleObj name="think-cell Slide" r:id="rId4" imgW="424" imgH="425" progId="TCLayout.ActiveDocument.1">
                  <p:embed/>
                  <p:pic>
                    <p:nvPicPr>
                      <p:cNvPr id="44" name="think-cell data - do not delete" hidden="1">
                        <a:extLst>
                          <a:ext uri="{FF2B5EF4-FFF2-40B4-BE49-F238E27FC236}">
                            <a16:creationId xmlns:a16="http://schemas.microsoft.com/office/drawing/2014/main" id="{524950EA-7FEC-91CE-2FDC-D2595F5E8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lvl1pPr>
              <a:defRPr>
                <a:latin typeface="Arial" panose="020B0604020202020204" pitchFamily="34" charset="0"/>
                <a:cs typeface="Arial" panose="020B0604020202020204" pitchFamily="34" charset="0"/>
              </a:defRPr>
            </a:lvl1pPr>
          </a:lstStyle>
          <a:p>
            <a:fld id="{9F9F533D-B52E-4A2F-BF72-0ADD2D94BD75}" type="slidenum">
              <a:rPr lang="en-GB" smtClean="0"/>
              <a:pPr/>
              <a:t>‹#›</a:t>
            </a:fld>
            <a:endParaRPr lang="en-GB" dirty="0"/>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lvl1pPr>
              <a:defRPr>
                <a:latin typeface="Arial" panose="020B0604020202020204" pitchFamily="34" charset="0"/>
                <a:cs typeface="Arial" panose="020B0604020202020204" pitchFamily="34" charset="0"/>
              </a:defRPr>
            </a:lvl1pPr>
          </a:lstStyle>
          <a:p>
            <a:fld id="{346B58B4-0D72-4C8B-9355-854FB5782278}" type="datetime4">
              <a:rPr lang="en-GB" smtClean="0"/>
              <a:pPr/>
              <a:t>21 August 2025</a:t>
            </a:fld>
            <a:endParaRPr lang="en-GB" dirty="0"/>
          </a:p>
        </p:txBody>
      </p:sp>
      <p:sp>
        <p:nvSpPr>
          <p:cNvPr id="8" name="Title">
            <a:extLst>
              <a:ext uri="{FF2B5EF4-FFF2-40B4-BE49-F238E27FC236}">
                <a16:creationId xmlns:a16="http://schemas.microsoft.com/office/drawing/2014/main" id="{3484351E-5906-1465-ED52-DA75D3630DE8}"/>
              </a:ext>
            </a:extLst>
          </p:cNvPr>
          <p:cNvSpPr>
            <a:spLocks noGrp="1"/>
          </p:cNvSpPr>
          <p:nvPr>
            <p:ph type="title" hasCustomPrompt="1"/>
          </p:nvPr>
        </p:nvSpPr>
        <p:spPr>
          <a:xfrm>
            <a:off x="365125" y="242888"/>
            <a:ext cx="11460163" cy="430887"/>
          </a:xfrm>
        </p:spPr>
        <p:txBody>
          <a:bodyPr vert="horz"/>
          <a:lstStyle>
            <a:lvl1pPr>
              <a:defRPr>
                <a:latin typeface="Arial" panose="020B0604020202020204" pitchFamily="34" charset="0"/>
                <a:cs typeface="Arial" panose="020B0604020202020204" pitchFamily="34" charset="0"/>
              </a:defRPr>
            </a:lvl1pPr>
          </a:lstStyle>
          <a:p>
            <a:r>
              <a:rPr lang="en-US" dirty="0"/>
              <a:t>Modelling approach and data overview</a:t>
            </a:r>
          </a:p>
        </p:txBody>
      </p:sp>
      <p:sp>
        <p:nvSpPr>
          <p:cNvPr id="9" name="Subtitle">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2054" y="749558"/>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b="0" i="0">
                <a:solidFill>
                  <a:schemeClr val="tx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Overview of the model configuration, variables &amp; historical spend share</a:t>
            </a:r>
          </a:p>
        </p:txBody>
      </p:sp>
      <p:sp>
        <p:nvSpPr>
          <p:cNvPr id="12" name="Freeform: Shape 11">
            <a:extLst>
              <a:ext uri="{FF2B5EF4-FFF2-40B4-BE49-F238E27FC236}">
                <a16:creationId xmlns:a16="http://schemas.microsoft.com/office/drawing/2014/main" id="{8DBDFC7D-EB75-1C71-FBB6-74679DF5FB23}"/>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Arial" panose="020B0604020202020204" pitchFamily="34" charset="0"/>
              <a:cs typeface="Arial" panose="020B0604020202020204" pitchFamily="34" charset="0"/>
            </a:endParaRPr>
          </a:p>
        </p:txBody>
      </p:sp>
      <p:sp>
        <p:nvSpPr>
          <p:cNvPr id="2" name="Freeform: Shape 1">
            <a:extLst>
              <a:ext uri="{FF2B5EF4-FFF2-40B4-BE49-F238E27FC236}">
                <a16:creationId xmlns:a16="http://schemas.microsoft.com/office/drawing/2014/main" id="{BB627EE7-29BC-7E7B-5DF4-1D96E07AD3F9}"/>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30542CAE-C108-5997-EE98-2C9412642EC9}"/>
              </a:ext>
            </a:extLst>
          </p:cNvPr>
          <p:cNvSpPr/>
          <p:nvPr userDrawn="1"/>
        </p:nvSpPr>
        <p:spPr>
          <a:xfrm>
            <a:off x="698370" y="2133746"/>
            <a:ext cx="647956" cy="647956"/>
          </a:xfrm>
          <a:prstGeom prst="ellipse">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sz="2000" dirty="0">
              <a:latin typeface="Arial" panose="020B0604020202020204" pitchFamily="34" charset="0"/>
              <a:cs typeface="Arial" panose="020B0604020202020204" pitchFamily="34" charset="0"/>
            </a:endParaRPr>
          </a:p>
        </p:txBody>
      </p:sp>
      <p:sp>
        <p:nvSpPr>
          <p:cNvPr id="11" name="Freeform 25">
            <a:extLst>
              <a:ext uri="{FF2B5EF4-FFF2-40B4-BE49-F238E27FC236}">
                <a16:creationId xmlns:a16="http://schemas.microsoft.com/office/drawing/2014/main" id="{6737A9C3-3B89-924F-D4C3-2D7C939556D4}"/>
              </a:ext>
            </a:extLst>
          </p:cNvPr>
          <p:cNvSpPr/>
          <p:nvPr userDrawn="1"/>
        </p:nvSpPr>
        <p:spPr>
          <a:xfrm>
            <a:off x="1577410" y="4902500"/>
            <a:ext cx="1851874" cy="390362"/>
          </a:xfrm>
          <a:custGeom>
            <a:avLst/>
            <a:gdLst>
              <a:gd name="connsiteX0" fmla="*/ 0 w 1784589"/>
              <a:gd name="connsiteY0" fmla="*/ 0 h 692198"/>
              <a:gd name="connsiteX1" fmla="*/ 1784589 w 1784589"/>
              <a:gd name="connsiteY1" fmla="*/ 0 h 692198"/>
              <a:gd name="connsiteX2" fmla="*/ 1784589 w 1784589"/>
              <a:gd name="connsiteY2" fmla="*/ 692198 h 692198"/>
              <a:gd name="connsiteX3" fmla="*/ 0 w 1784589"/>
              <a:gd name="connsiteY3" fmla="*/ 692198 h 692198"/>
              <a:gd name="connsiteX4" fmla="*/ 0 w 1784589"/>
              <a:gd name="connsiteY4" fmla="*/ 0 h 692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4589" h="692198">
                <a:moveTo>
                  <a:pt x="0" y="0"/>
                </a:moveTo>
                <a:lnTo>
                  <a:pt x="1784589" y="0"/>
                </a:lnTo>
                <a:lnTo>
                  <a:pt x="1784589" y="692198"/>
                </a:lnTo>
                <a:lnTo>
                  <a:pt x="0" y="69219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11200" rtl="0" eaLnBrk="1" fontAlgn="auto" latinLnBrk="0" hangingPunct="1">
              <a:lnSpc>
                <a:spcPct val="100000"/>
              </a:lnSpc>
              <a:spcBef>
                <a:spcPct val="0"/>
              </a:spcBef>
              <a:spcAft>
                <a:spcPct val="35000"/>
              </a:spcAft>
              <a:buClrTx/>
              <a:buSzTx/>
              <a:buFontTx/>
              <a:buNone/>
              <a:tabLst/>
              <a:defRPr/>
            </a:pPr>
            <a:r>
              <a:rPr lang="en-US" sz="1400" b="0" i="0" kern="1200" dirty="0">
                <a:latin typeface="Arial" panose="020B0604020202020204" pitchFamily="34" charset="0"/>
                <a:cs typeface="Arial" panose="020B0604020202020204" pitchFamily="34" charset="0"/>
              </a:rPr>
              <a:t>Total spend covered</a:t>
            </a:r>
            <a:endParaRPr lang="en-US" sz="2000" b="0" i="0" kern="1200" dirty="0">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A8D1C4FF-9441-23F1-9C93-B8E4BCC0F5C2}"/>
              </a:ext>
            </a:extLst>
          </p:cNvPr>
          <p:cNvSpPr/>
          <p:nvPr userDrawn="1"/>
        </p:nvSpPr>
        <p:spPr>
          <a:xfrm>
            <a:off x="698803" y="3089719"/>
            <a:ext cx="647956" cy="647956"/>
          </a:xfrm>
          <a:prstGeom prst="ellipse">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sz="2000">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5679F10E-203A-9680-1252-6081D89AAFC8}"/>
              </a:ext>
            </a:extLst>
          </p:cNvPr>
          <p:cNvSpPr/>
          <p:nvPr userDrawn="1"/>
        </p:nvSpPr>
        <p:spPr>
          <a:xfrm>
            <a:off x="725819" y="4009470"/>
            <a:ext cx="647956" cy="647956"/>
          </a:xfrm>
          <a:prstGeom prst="ellipse">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sz="2000">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34A8295A-BEA1-C944-7793-89B9BF180E43}"/>
              </a:ext>
            </a:extLst>
          </p:cNvPr>
          <p:cNvSpPr/>
          <p:nvPr userDrawn="1"/>
        </p:nvSpPr>
        <p:spPr>
          <a:xfrm>
            <a:off x="728341" y="4898112"/>
            <a:ext cx="647956" cy="647956"/>
          </a:xfrm>
          <a:prstGeom prst="ellipse">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sz="2000" dirty="0">
              <a:latin typeface="Arial" panose="020B0604020202020204" pitchFamily="34" charset="0"/>
              <a:cs typeface="Arial" panose="020B0604020202020204" pitchFamily="34" charset="0"/>
            </a:endParaRPr>
          </a:p>
        </p:txBody>
      </p:sp>
      <p:sp>
        <p:nvSpPr>
          <p:cNvPr id="16" name="Freeform 39">
            <a:extLst>
              <a:ext uri="{FF2B5EF4-FFF2-40B4-BE49-F238E27FC236}">
                <a16:creationId xmlns:a16="http://schemas.microsoft.com/office/drawing/2014/main" id="{E84DF276-C9FA-22EF-0D12-D82FED3CD14A}"/>
              </a:ext>
            </a:extLst>
          </p:cNvPr>
          <p:cNvSpPr/>
          <p:nvPr userDrawn="1"/>
        </p:nvSpPr>
        <p:spPr>
          <a:xfrm>
            <a:off x="1577409" y="3040426"/>
            <a:ext cx="1820061" cy="390362"/>
          </a:xfrm>
          <a:custGeom>
            <a:avLst/>
            <a:gdLst>
              <a:gd name="connsiteX0" fmla="*/ 0 w 1784589"/>
              <a:gd name="connsiteY0" fmla="*/ 0 h 692198"/>
              <a:gd name="connsiteX1" fmla="*/ 1784589 w 1784589"/>
              <a:gd name="connsiteY1" fmla="*/ 0 h 692198"/>
              <a:gd name="connsiteX2" fmla="*/ 1784589 w 1784589"/>
              <a:gd name="connsiteY2" fmla="*/ 692198 h 692198"/>
              <a:gd name="connsiteX3" fmla="*/ 0 w 1784589"/>
              <a:gd name="connsiteY3" fmla="*/ 692198 h 692198"/>
              <a:gd name="connsiteX4" fmla="*/ 0 w 1784589"/>
              <a:gd name="connsiteY4" fmla="*/ 0 h 692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4589" h="692198">
                <a:moveTo>
                  <a:pt x="0" y="0"/>
                </a:moveTo>
                <a:lnTo>
                  <a:pt x="1784589" y="0"/>
                </a:lnTo>
                <a:lnTo>
                  <a:pt x="1784589" y="692198"/>
                </a:lnTo>
                <a:lnTo>
                  <a:pt x="0" y="69219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400" b="0" i="0" kern="1200" dirty="0">
                <a:latin typeface="Arial" panose="020B0604020202020204" pitchFamily="34" charset="0"/>
                <a:cs typeface="Arial" panose="020B0604020202020204" pitchFamily="34" charset="0"/>
              </a:rPr>
              <a:t>Modeling date range</a:t>
            </a:r>
            <a:endParaRPr lang="en-US" sz="2000" b="0" i="0" kern="1200" dirty="0">
              <a:latin typeface="Arial" panose="020B0604020202020204" pitchFamily="34" charset="0"/>
              <a:cs typeface="Arial" panose="020B0604020202020204" pitchFamily="34" charset="0"/>
            </a:endParaRPr>
          </a:p>
        </p:txBody>
      </p:sp>
      <p:sp>
        <p:nvSpPr>
          <p:cNvPr id="17" name="Freeform 40">
            <a:extLst>
              <a:ext uri="{FF2B5EF4-FFF2-40B4-BE49-F238E27FC236}">
                <a16:creationId xmlns:a16="http://schemas.microsoft.com/office/drawing/2014/main" id="{4023477D-ABEF-8B6C-655F-49C889BFE9A7}"/>
              </a:ext>
            </a:extLst>
          </p:cNvPr>
          <p:cNvSpPr/>
          <p:nvPr userDrawn="1"/>
        </p:nvSpPr>
        <p:spPr>
          <a:xfrm>
            <a:off x="1577410" y="2121170"/>
            <a:ext cx="1796898" cy="390362"/>
          </a:xfrm>
          <a:custGeom>
            <a:avLst/>
            <a:gdLst>
              <a:gd name="connsiteX0" fmla="*/ 0 w 1784589"/>
              <a:gd name="connsiteY0" fmla="*/ 0 h 692198"/>
              <a:gd name="connsiteX1" fmla="*/ 1784589 w 1784589"/>
              <a:gd name="connsiteY1" fmla="*/ 0 h 692198"/>
              <a:gd name="connsiteX2" fmla="*/ 1784589 w 1784589"/>
              <a:gd name="connsiteY2" fmla="*/ 692198 h 692198"/>
              <a:gd name="connsiteX3" fmla="*/ 0 w 1784589"/>
              <a:gd name="connsiteY3" fmla="*/ 692198 h 692198"/>
              <a:gd name="connsiteX4" fmla="*/ 0 w 1784589"/>
              <a:gd name="connsiteY4" fmla="*/ 0 h 692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4589" h="692198">
                <a:moveTo>
                  <a:pt x="0" y="0"/>
                </a:moveTo>
                <a:lnTo>
                  <a:pt x="1784589" y="0"/>
                </a:lnTo>
                <a:lnTo>
                  <a:pt x="1784589" y="692198"/>
                </a:lnTo>
                <a:lnTo>
                  <a:pt x="0" y="69219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400" b="0" i="0" kern="1200" dirty="0">
                <a:latin typeface="Arial" panose="020B0604020202020204" pitchFamily="34" charset="0"/>
                <a:cs typeface="Arial" panose="020B0604020202020204" pitchFamily="34" charset="0"/>
              </a:rPr>
              <a:t>Target variable</a:t>
            </a:r>
            <a:endParaRPr lang="en-US" sz="2000" b="0" i="0" kern="1200" dirty="0">
              <a:latin typeface="Arial" panose="020B0604020202020204" pitchFamily="34" charset="0"/>
              <a:cs typeface="Arial" panose="020B0604020202020204" pitchFamily="34" charset="0"/>
            </a:endParaRPr>
          </a:p>
        </p:txBody>
      </p:sp>
      <p:sp>
        <p:nvSpPr>
          <p:cNvPr id="18" name="Freeform 41">
            <a:extLst>
              <a:ext uri="{FF2B5EF4-FFF2-40B4-BE49-F238E27FC236}">
                <a16:creationId xmlns:a16="http://schemas.microsoft.com/office/drawing/2014/main" id="{F66854FF-B88E-120A-65CF-BF7F2B3BD41B}"/>
              </a:ext>
            </a:extLst>
          </p:cNvPr>
          <p:cNvSpPr/>
          <p:nvPr userDrawn="1"/>
        </p:nvSpPr>
        <p:spPr>
          <a:xfrm>
            <a:off x="1577409" y="3968119"/>
            <a:ext cx="2192285" cy="390362"/>
          </a:xfrm>
          <a:custGeom>
            <a:avLst/>
            <a:gdLst>
              <a:gd name="connsiteX0" fmla="*/ 0 w 1784589"/>
              <a:gd name="connsiteY0" fmla="*/ 0 h 692198"/>
              <a:gd name="connsiteX1" fmla="*/ 1784589 w 1784589"/>
              <a:gd name="connsiteY1" fmla="*/ 0 h 692198"/>
              <a:gd name="connsiteX2" fmla="*/ 1784589 w 1784589"/>
              <a:gd name="connsiteY2" fmla="*/ 692198 h 692198"/>
              <a:gd name="connsiteX3" fmla="*/ 0 w 1784589"/>
              <a:gd name="connsiteY3" fmla="*/ 692198 h 692198"/>
              <a:gd name="connsiteX4" fmla="*/ 0 w 1784589"/>
              <a:gd name="connsiteY4" fmla="*/ 0 h 692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4589" h="692198">
                <a:moveTo>
                  <a:pt x="0" y="0"/>
                </a:moveTo>
                <a:lnTo>
                  <a:pt x="1784589" y="0"/>
                </a:lnTo>
                <a:lnTo>
                  <a:pt x="1784589" y="692198"/>
                </a:lnTo>
                <a:lnTo>
                  <a:pt x="0" y="69219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400" b="0" i="0" kern="1200" dirty="0">
                <a:latin typeface="Arial" panose="020B0604020202020204" pitchFamily="34" charset="0"/>
                <a:cs typeface="Arial" panose="020B0604020202020204" pitchFamily="34" charset="0"/>
              </a:rPr>
              <a:t>Observation period</a:t>
            </a:r>
            <a:endParaRPr lang="en-US" sz="2000" b="0" i="0" kern="1200" dirty="0">
              <a:latin typeface="Arial" panose="020B0604020202020204" pitchFamily="34" charset="0"/>
              <a:cs typeface="Arial" panose="020B0604020202020204" pitchFamily="34" charset="0"/>
            </a:endParaRPr>
          </a:p>
        </p:txBody>
      </p:sp>
      <p:sp>
        <p:nvSpPr>
          <p:cNvPr id="19" name="KPI">
            <a:extLst>
              <a:ext uri="{FF2B5EF4-FFF2-40B4-BE49-F238E27FC236}">
                <a16:creationId xmlns:a16="http://schemas.microsoft.com/office/drawing/2014/main" id="{7E26DBB3-2362-4694-2684-60A7139FD161}"/>
              </a:ext>
            </a:extLst>
          </p:cNvPr>
          <p:cNvSpPr>
            <a:spLocks noGrp="1"/>
          </p:cNvSpPr>
          <p:nvPr>
            <p:ph sz="quarter" idx="13" hasCustomPrompt="1"/>
          </p:nvPr>
        </p:nvSpPr>
        <p:spPr>
          <a:xfrm>
            <a:off x="1581307" y="2463155"/>
            <a:ext cx="3790793" cy="382264"/>
          </a:xfrm>
        </p:spPr>
        <p:txBody>
          <a:bodyPr>
            <a:normAutofit/>
          </a:bodyPr>
          <a:lstStyle>
            <a:lvl1pPr marL="0" indent="0" algn="l">
              <a:buNone/>
              <a:defRPr sz="1400" b="1">
                <a:latin typeface="Arial" panose="020B0604020202020204" pitchFamily="34" charset="0"/>
                <a:cs typeface="Arial" panose="020B0604020202020204" pitchFamily="34" charset="0"/>
              </a:defRPr>
            </a:lvl1pPr>
          </a:lstStyle>
          <a:p>
            <a:r>
              <a:rPr lang="es-ES" dirty="0"/>
              <a:t>XXX</a:t>
            </a:r>
            <a:endParaRPr dirty="0"/>
          </a:p>
        </p:txBody>
      </p:sp>
      <p:sp>
        <p:nvSpPr>
          <p:cNvPr id="20" name="Spend">
            <a:extLst>
              <a:ext uri="{FF2B5EF4-FFF2-40B4-BE49-F238E27FC236}">
                <a16:creationId xmlns:a16="http://schemas.microsoft.com/office/drawing/2014/main" id="{D3D3E016-9E7F-1BD4-F9D1-4C6C89C70224}"/>
              </a:ext>
            </a:extLst>
          </p:cNvPr>
          <p:cNvSpPr>
            <a:spLocks noGrp="1"/>
          </p:cNvSpPr>
          <p:nvPr>
            <p:ph sz="quarter" idx="14" hasCustomPrompt="1"/>
          </p:nvPr>
        </p:nvSpPr>
        <p:spPr>
          <a:xfrm>
            <a:off x="1581307" y="5218894"/>
            <a:ext cx="3786129" cy="370183"/>
          </a:xfrm>
        </p:spPr>
        <p:txBody>
          <a:bodyPr/>
          <a:lstStyle>
            <a:lvl1pPr marL="0" indent="0" algn="l">
              <a:buNone/>
              <a:defRPr sz="1400" b="1">
                <a:latin typeface="Arial" panose="020B0604020202020204" pitchFamily="34" charset="0"/>
                <a:cs typeface="Arial" panose="020B0604020202020204" pitchFamily="34" charset="0"/>
              </a:defRPr>
            </a:lvl1pPr>
          </a:lstStyle>
          <a:p>
            <a:r>
              <a:rPr lang="es-ES" dirty="0"/>
              <a:t>XXX</a:t>
            </a:r>
            <a:endParaRPr dirty="0"/>
          </a:p>
        </p:txBody>
      </p:sp>
      <p:sp>
        <p:nvSpPr>
          <p:cNvPr id="21" name="Date Range">
            <a:extLst>
              <a:ext uri="{FF2B5EF4-FFF2-40B4-BE49-F238E27FC236}">
                <a16:creationId xmlns:a16="http://schemas.microsoft.com/office/drawing/2014/main" id="{774212F8-FB4A-0614-90EA-4549FA65D8CB}"/>
              </a:ext>
            </a:extLst>
          </p:cNvPr>
          <p:cNvSpPr>
            <a:spLocks noGrp="1"/>
          </p:cNvSpPr>
          <p:nvPr>
            <p:ph sz="quarter" idx="15" hasCustomPrompt="1"/>
          </p:nvPr>
        </p:nvSpPr>
        <p:spPr>
          <a:xfrm>
            <a:off x="1577409" y="3351976"/>
            <a:ext cx="3815915" cy="388244"/>
          </a:xfrm>
        </p:spPr>
        <p:txBody>
          <a:bodyPr/>
          <a:lstStyle>
            <a:lvl1pPr marL="0" indent="0" algn="l">
              <a:buNone/>
              <a:defRPr sz="1400" b="1">
                <a:latin typeface="Arial" panose="020B0604020202020204" pitchFamily="34" charset="0"/>
                <a:cs typeface="Arial" panose="020B0604020202020204" pitchFamily="34" charset="0"/>
              </a:defRPr>
            </a:lvl1pPr>
          </a:lstStyle>
          <a:p>
            <a:r>
              <a:rPr lang="es-ES" dirty="0"/>
              <a:t>XXX</a:t>
            </a:r>
            <a:endParaRPr dirty="0"/>
          </a:p>
        </p:txBody>
      </p:sp>
      <p:sp>
        <p:nvSpPr>
          <p:cNvPr id="22" name="Observations">
            <a:extLst>
              <a:ext uri="{FF2B5EF4-FFF2-40B4-BE49-F238E27FC236}">
                <a16:creationId xmlns:a16="http://schemas.microsoft.com/office/drawing/2014/main" id="{713A5AE3-AE2E-605A-5F8B-3C95F0F63146}"/>
              </a:ext>
            </a:extLst>
          </p:cNvPr>
          <p:cNvSpPr>
            <a:spLocks noGrp="1"/>
          </p:cNvSpPr>
          <p:nvPr>
            <p:ph sz="quarter" idx="16" hasCustomPrompt="1"/>
          </p:nvPr>
        </p:nvSpPr>
        <p:spPr>
          <a:xfrm>
            <a:off x="1577410" y="4333255"/>
            <a:ext cx="3794690" cy="370183"/>
          </a:xfrm>
        </p:spPr>
        <p:txBody>
          <a:bodyPr vert="horz" lIns="91440" tIns="45720" rIns="91440" bIns="45720" rtlCol="0">
            <a:normAutofit/>
          </a:bodyPr>
          <a:lstStyle>
            <a:lvl1pPr marL="0" indent="0">
              <a:buNone/>
              <a:defRPr sz="1400" b="1" dirty="0">
                <a:latin typeface="Arial" panose="020B0604020202020204" pitchFamily="34" charset="0"/>
                <a:cs typeface="Arial" panose="020B0604020202020204" pitchFamily="34" charset="0"/>
              </a:defRPr>
            </a:lvl1pPr>
          </a:lstStyle>
          <a:p>
            <a:pPr lvl="0"/>
            <a:r>
              <a:rPr lang="es-ES" dirty="0"/>
              <a:t>XXX</a:t>
            </a:r>
            <a:endParaRPr dirty="0"/>
          </a:p>
        </p:txBody>
      </p:sp>
      <p:sp>
        <p:nvSpPr>
          <p:cNvPr id="27" name="Freeform 56">
            <a:extLst>
              <a:ext uri="{FF2B5EF4-FFF2-40B4-BE49-F238E27FC236}">
                <a16:creationId xmlns:a16="http://schemas.microsoft.com/office/drawing/2014/main" id="{693F869E-224D-1F9F-F9AD-2E4A121A14DF}"/>
              </a:ext>
            </a:extLst>
          </p:cNvPr>
          <p:cNvSpPr/>
          <p:nvPr userDrawn="1"/>
        </p:nvSpPr>
        <p:spPr>
          <a:xfrm>
            <a:off x="7147661" y="2492002"/>
            <a:ext cx="2508150" cy="390362"/>
          </a:xfrm>
          <a:custGeom>
            <a:avLst/>
            <a:gdLst>
              <a:gd name="connsiteX0" fmla="*/ 0 w 1784589"/>
              <a:gd name="connsiteY0" fmla="*/ 0 h 692198"/>
              <a:gd name="connsiteX1" fmla="*/ 1784589 w 1784589"/>
              <a:gd name="connsiteY1" fmla="*/ 0 h 692198"/>
              <a:gd name="connsiteX2" fmla="*/ 1784589 w 1784589"/>
              <a:gd name="connsiteY2" fmla="*/ 692198 h 692198"/>
              <a:gd name="connsiteX3" fmla="*/ 0 w 1784589"/>
              <a:gd name="connsiteY3" fmla="*/ 692198 h 692198"/>
              <a:gd name="connsiteX4" fmla="*/ 0 w 1784589"/>
              <a:gd name="connsiteY4" fmla="*/ 0 h 692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4589" h="692198">
                <a:moveTo>
                  <a:pt x="0" y="0"/>
                </a:moveTo>
                <a:lnTo>
                  <a:pt x="1784589" y="0"/>
                </a:lnTo>
                <a:lnTo>
                  <a:pt x="1784589" y="692198"/>
                </a:lnTo>
                <a:lnTo>
                  <a:pt x="0" y="69219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711200" rtl="0" eaLnBrk="1" fontAlgn="auto" latinLnBrk="0" hangingPunct="1">
              <a:lnSpc>
                <a:spcPct val="100000"/>
              </a:lnSpc>
              <a:spcBef>
                <a:spcPct val="0"/>
              </a:spcBef>
              <a:spcAft>
                <a:spcPct val="35000"/>
              </a:spcAft>
              <a:buClrTx/>
              <a:buSzTx/>
              <a:buFontTx/>
              <a:buNone/>
              <a:tabLst/>
              <a:defRPr/>
            </a:pPr>
            <a:r>
              <a:rPr lang="en-US" sz="1500" b="0" i="0" kern="1200" dirty="0">
                <a:latin typeface="Arial" panose="020B0604020202020204" pitchFamily="34" charset="0"/>
                <a:cs typeface="Arial" panose="020B0604020202020204" pitchFamily="34" charset="0"/>
              </a:rPr>
              <a:t>Paid channels</a:t>
            </a:r>
          </a:p>
        </p:txBody>
      </p:sp>
      <p:sp>
        <p:nvSpPr>
          <p:cNvPr id="28" name="Freeform 57">
            <a:extLst>
              <a:ext uri="{FF2B5EF4-FFF2-40B4-BE49-F238E27FC236}">
                <a16:creationId xmlns:a16="http://schemas.microsoft.com/office/drawing/2014/main" id="{7C34DB49-49BF-46E4-FF57-5DE564F277C7}"/>
              </a:ext>
            </a:extLst>
          </p:cNvPr>
          <p:cNvSpPr/>
          <p:nvPr userDrawn="1"/>
        </p:nvSpPr>
        <p:spPr>
          <a:xfrm>
            <a:off x="7138225" y="3486461"/>
            <a:ext cx="2110037" cy="390362"/>
          </a:xfrm>
          <a:custGeom>
            <a:avLst/>
            <a:gdLst>
              <a:gd name="connsiteX0" fmla="*/ 0 w 1784589"/>
              <a:gd name="connsiteY0" fmla="*/ 0 h 692198"/>
              <a:gd name="connsiteX1" fmla="*/ 1784589 w 1784589"/>
              <a:gd name="connsiteY1" fmla="*/ 0 h 692198"/>
              <a:gd name="connsiteX2" fmla="*/ 1784589 w 1784589"/>
              <a:gd name="connsiteY2" fmla="*/ 692198 h 692198"/>
              <a:gd name="connsiteX3" fmla="*/ 0 w 1784589"/>
              <a:gd name="connsiteY3" fmla="*/ 692198 h 692198"/>
              <a:gd name="connsiteX4" fmla="*/ 0 w 1784589"/>
              <a:gd name="connsiteY4" fmla="*/ 0 h 692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4589" h="692198">
                <a:moveTo>
                  <a:pt x="0" y="0"/>
                </a:moveTo>
                <a:lnTo>
                  <a:pt x="1784589" y="0"/>
                </a:lnTo>
                <a:lnTo>
                  <a:pt x="1784589" y="692198"/>
                </a:lnTo>
                <a:lnTo>
                  <a:pt x="0" y="69219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500" b="0" i="0" kern="1200" dirty="0">
                <a:latin typeface="Arial" panose="020B0604020202020204" pitchFamily="34" charset="0"/>
                <a:cs typeface="Arial" panose="020B0604020202020204" pitchFamily="34" charset="0"/>
              </a:rPr>
              <a:t>Organic variables</a:t>
            </a:r>
          </a:p>
        </p:txBody>
      </p:sp>
      <p:sp>
        <p:nvSpPr>
          <p:cNvPr id="29" name="Freeform 58">
            <a:extLst>
              <a:ext uri="{FF2B5EF4-FFF2-40B4-BE49-F238E27FC236}">
                <a16:creationId xmlns:a16="http://schemas.microsoft.com/office/drawing/2014/main" id="{89AB9FC4-5A2C-F486-1742-B3D35CA1BCA6}"/>
              </a:ext>
            </a:extLst>
          </p:cNvPr>
          <p:cNvSpPr/>
          <p:nvPr userDrawn="1"/>
        </p:nvSpPr>
        <p:spPr>
          <a:xfrm>
            <a:off x="7138225" y="4518346"/>
            <a:ext cx="2110038" cy="390362"/>
          </a:xfrm>
          <a:custGeom>
            <a:avLst/>
            <a:gdLst>
              <a:gd name="connsiteX0" fmla="*/ 0 w 1784589"/>
              <a:gd name="connsiteY0" fmla="*/ 0 h 692198"/>
              <a:gd name="connsiteX1" fmla="*/ 1784589 w 1784589"/>
              <a:gd name="connsiteY1" fmla="*/ 0 h 692198"/>
              <a:gd name="connsiteX2" fmla="*/ 1784589 w 1784589"/>
              <a:gd name="connsiteY2" fmla="*/ 692198 h 692198"/>
              <a:gd name="connsiteX3" fmla="*/ 0 w 1784589"/>
              <a:gd name="connsiteY3" fmla="*/ 692198 h 692198"/>
              <a:gd name="connsiteX4" fmla="*/ 0 w 1784589"/>
              <a:gd name="connsiteY4" fmla="*/ 0 h 692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4589" h="692198">
                <a:moveTo>
                  <a:pt x="0" y="0"/>
                </a:moveTo>
                <a:lnTo>
                  <a:pt x="1784589" y="0"/>
                </a:lnTo>
                <a:lnTo>
                  <a:pt x="1784589" y="692198"/>
                </a:lnTo>
                <a:lnTo>
                  <a:pt x="0" y="69219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500" b="0" i="0" kern="1200" dirty="0">
                <a:latin typeface="Arial" panose="020B0604020202020204" pitchFamily="34" charset="0"/>
                <a:cs typeface="Arial" panose="020B0604020202020204" pitchFamily="34" charset="0"/>
              </a:rPr>
              <a:t>Contextual variables</a:t>
            </a:r>
          </a:p>
        </p:txBody>
      </p:sp>
      <p:sp>
        <p:nvSpPr>
          <p:cNvPr id="30" name="Paid Vars">
            <a:extLst>
              <a:ext uri="{FF2B5EF4-FFF2-40B4-BE49-F238E27FC236}">
                <a16:creationId xmlns:a16="http://schemas.microsoft.com/office/drawing/2014/main" id="{C62DF908-1D66-C5FB-5076-D9DE5CEC34EB}"/>
              </a:ext>
            </a:extLst>
          </p:cNvPr>
          <p:cNvSpPr>
            <a:spLocks noGrp="1"/>
          </p:cNvSpPr>
          <p:nvPr>
            <p:ph sz="quarter" idx="17" hasCustomPrompt="1"/>
          </p:nvPr>
        </p:nvSpPr>
        <p:spPr>
          <a:xfrm>
            <a:off x="7152254" y="2752453"/>
            <a:ext cx="1298074" cy="390362"/>
          </a:xfrm>
        </p:spPr>
        <p:txBody>
          <a:bodyPr>
            <a:noAutofit/>
          </a:bodyPr>
          <a:lstStyle>
            <a:lvl1pPr marL="0" indent="0">
              <a:buNone/>
              <a:defRPr sz="3600" b="1">
                <a:latin typeface="Arial" panose="020B0604020202020204" pitchFamily="34" charset="0"/>
                <a:cs typeface="Arial" panose="020B0604020202020204" pitchFamily="34" charset="0"/>
              </a:defRPr>
            </a:lvl1pPr>
          </a:lstStyle>
          <a:p>
            <a:r>
              <a:rPr lang="es-ES" dirty="0"/>
              <a:t>0</a:t>
            </a:r>
            <a:endParaRPr dirty="0"/>
          </a:p>
        </p:txBody>
      </p:sp>
      <p:sp>
        <p:nvSpPr>
          <p:cNvPr id="31" name="Organic Vars">
            <a:extLst>
              <a:ext uri="{FF2B5EF4-FFF2-40B4-BE49-F238E27FC236}">
                <a16:creationId xmlns:a16="http://schemas.microsoft.com/office/drawing/2014/main" id="{D815585C-8028-0CD7-D52B-3AD1A0D9310A}"/>
              </a:ext>
            </a:extLst>
          </p:cNvPr>
          <p:cNvSpPr>
            <a:spLocks noGrp="1"/>
          </p:cNvSpPr>
          <p:nvPr>
            <p:ph sz="quarter" idx="18" hasCustomPrompt="1"/>
          </p:nvPr>
        </p:nvSpPr>
        <p:spPr>
          <a:xfrm>
            <a:off x="7152254" y="3758563"/>
            <a:ext cx="1252332" cy="409547"/>
          </a:xfrm>
        </p:spPr>
        <p:txBody>
          <a:bodyPr>
            <a:noAutofit/>
          </a:bodyPr>
          <a:lstStyle>
            <a:lvl1pPr marL="0" indent="0">
              <a:buNone/>
              <a:defRPr sz="3600" b="1">
                <a:latin typeface="Arial" panose="020B0604020202020204" pitchFamily="34" charset="0"/>
                <a:cs typeface="Arial" panose="020B0604020202020204" pitchFamily="34" charset="0"/>
              </a:defRPr>
            </a:lvl1pPr>
          </a:lstStyle>
          <a:p>
            <a:r>
              <a:rPr lang="es-ES" dirty="0"/>
              <a:t>0</a:t>
            </a:r>
            <a:endParaRPr dirty="0"/>
          </a:p>
        </p:txBody>
      </p:sp>
      <p:sp>
        <p:nvSpPr>
          <p:cNvPr id="32" name="Context Vars">
            <a:extLst>
              <a:ext uri="{FF2B5EF4-FFF2-40B4-BE49-F238E27FC236}">
                <a16:creationId xmlns:a16="http://schemas.microsoft.com/office/drawing/2014/main" id="{E7AB00F1-926F-F6F2-861C-274FD34CDC57}"/>
              </a:ext>
            </a:extLst>
          </p:cNvPr>
          <p:cNvSpPr>
            <a:spLocks noGrp="1"/>
          </p:cNvSpPr>
          <p:nvPr>
            <p:ph sz="quarter" idx="19" hasCustomPrompt="1"/>
          </p:nvPr>
        </p:nvSpPr>
        <p:spPr>
          <a:xfrm>
            <a:off x="7152254" y="4780587"/>
            <a:ext cx="1252332" cy="409547"/>
          </a:xfrm>
        </p:spPr>
        <p:txBody>
          <a:bodyPr>
            <a:noAutofit/>
          </a:bodyPr>
          <a:lstStyle>
            <a:lvl1pPr marL="0" indent="0">
              <a:buNone/>
              <a:defRPr sz="3600" b="1">
                <a:latin typeface="Arial" panose="020B0604020202020204" pitchFamily="34" charset="0"/>
                <a:cs typeface="Arial" panose="020B0604020202020204" pitchFamily="34" charset="0"/>
              </a:defRPr>
            </a:lvl1pPr>
          </a:lstStyle>
          <a:p>
            <a:r>
              <a:rPr lang="es-ES" dirty="0"/>
              <a:t>0</a:t>
            </a:r>
            <a:endParaRPr dirty="0"/>
          </a:p>
        </p:txBody>
      </p:sp>
      <p:grpSp>
        <p:nvGrpSpPr>
          <p:cNvPr id="7" name="Group 6">
            <a:extLst>
              <a:ext uri="{FF2B5EF4-FFF2-40B4-BE49-F238E27FC236}">
                <a16:creationId xmlns:a16="http://schemas.microsoft.com/office/drawing/2014/main" id="{F1828999-28DE-37F4-840C-D38D428F215E}"/>
              </a:ext>
            </a:extLst>
          </p:cNvPr>
          <p:cNvGrpSpPr/>
          <p:nvPr userDrawn="1"/>
        </p:nvGrpSpPr>
        <p:grpSpPr>
          <a:xfrm>
            <a:off x="6371312" y="3632337"/>
            <a:ext cx="647956" cy="647956"/>
            <a:chOff x="6365680" y="3539550"/>
            <a:chExt cx="647956" cy="647956"/>
          </a:xfrm>
        </p:grpSpPr>
        <p:sp>
          <p:nvSpPr>
            <p:cNvPr id="25" name="Oval 24">
              <a:extLst>
                <a:ext uri="{FF2B5EF4-FFF2-40B4-BE49-F238E27FC236}">
                  <a16:creationId xmlns:a16="http://schemas.microsoft.com/office/drawing/2014/main" id="{F5CF6485-8342-5ADC-1F0D-6B4B2CDD3F66}"/>
                </a:ext>
              </a:extLst>
            </p:cNvPr>
            <p:cNvSpPr/>
            <p:nvPr userDrawn="1"/>
          </p:nvSpPr>
          <p:spPr>
            <a:xfrm>
              <a:off x="6365680" y="3539550"/>
              <a:ext cx="647956" cy="647956"/>
            </a:xfrm>
            <a:prstGeom prst="ellipse">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sz="2000">
                <a:latin typeface="Arial" panose="020B0604020202020204" pitchFamily="34" charset="0"/>
                <a:cs typeface="Arial" panose="020B0604020202020204" pitchFamily="34" charset="0"/>
              </a:endParaRPr>
            </a:p>
          </p:txBody>
        </p:sp>
        <p:pic>
          <p:nvPicPr>
            <p:cNvPr id="33" name="Graphic 32" descr="Leaf outline">
              <a:extLst>
                <a:ext uri="{FF2B5EF4-FFF2-40B4-BE49-F238E27FC236}">
                  <a16:creationId xmlns:a16="http://schemas.microsoft.com/office/drawing/2014/main" id="{73F9AE66-71EA-7BC7-D96E-0714663FFE5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467398" y="3662544"/>
              <a:ext cx="444519" cy="444519"/>
            </a:xfrm>
            <a:prstGeom prst="rect">
              <a:avLst/>
            </a:prstGeom>
          </p:spPr>
        </p:pic>
      </p:grpSp>
      <p:grpSp>
        <p:nvGrpSpPr>
          <p:cNvPr id="6" name="Group 5">
            <a:extLst>
              <a:ext uri="{FF2B5EF4-FFF2-40B4-BE49-F238E27FC236}">
                <a16:creationId xmlns:a16="http://schemas.microsoft.com/office/drawing/2014/main" id="{E339DAF1-F053-A5EF-DF9A-B4AAB5F715E6}"/>
              </a:ext>
            </a:extLst>
          </p:cNvPr>
          <p:cNvGrpSpPr/>
          <p:nvPr userDrawn="1"/>
        </p:nvGrpSpPr>
        <p:grpSpPr>
          <a:xfrm>
            <a:off x="6371312" y="4627995"/>
            <a:ext cx="647956" cy="647956"/>
            <a:chOff x="6365680" y="4597578"/>
            <a:chExt cx="647956" cy="647956"/>
          </a:xfrm>
        </p:grpSpPr>
        <p:sp>
          <p:nvSpPr>
            <p:cNvPr id="24" name="Oval 23">
              <a:extLst>
                <a:ext uri="{FF2B5EF4-FFF2-40B4-BE49-F238E27FC236}">
                  <a16:creationId xmlns:a16="http://schemas.microsoft.com/office/drawing/2014/main" id="{887F1F8E-AE85-4502-65BF-F703C08ADC7E}"/>
                </a:ext>
              </a:extLst>
            </p:cNvPr>
            <p:cNvSpPr/>
            <p:nvPr userDrawn="1"/>
          </p:nvSpPr>
          <p:spPr>
            <a:xfrm>
              <a:off x="6365680" y="4597578"/>
              <a:ext cx="647956" cy="647956"/>
            </a:xfrm>
            <a:prstGeom prst="ellipse">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sz="2000">
                <a:latin typeface="Arial" panose="020B0604020202020204" pitchFamily="34" charset="0"/>
                <a:cs typeface="Arial" panose="020B0604020202020204" pitchFamily="34" charset="0"/>
              </a:endParaRPr>
            </a:p>
          </p:txBody>
        </p:sp>
        <p:pic>
          <p:nvPicPr>
            <p:cNvPr id="34" name="Graphic 33" descr="Umbrella outline">
              <a:extLst>
                <a:ext uri="{FF2B5EF4-FFF2-40B4-BE49-F238E27FC236}">
                  <a16:creationId xmlns:a16="http://schemas.microsoft.com/office/drawing/2014/main" id="{68376A21-5077-A36E-2D50-66EB14DD6D6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490269" y="4740175"/>
              <a:ext cx="398775" cy="398775"/>
            </a:xfrm>
            <a:prstGeom prst="rect">
              <a:avLst/>
            </a:prstGeom>
          </p:spPr>
        </p:pic>
      </p:grpSp>
      <p:grpSp>
        <p:nvGrpSpPr>
          <p:cNvPr id="23" name="Group 22">
            <a:extLst>
              <a:ext uri="{FF2B5EF4-FFF2-40B4-BE49-F238E27FC236}">
                <a16:creationId xmlns:a16="http://schemas.microsoft.com/office/drawing/2014/main" id="{D45EB962-0386-5B9F-AC0C-494F87CA79AB}"/>
              </a:ext>
            </a:extLst>
          </p:cNvPr>
          <p:cNvGrpSpPr/>
          <p:nvPr userDrawn="1"/>
        </p:nvGrpSpPr>
        <p:grpSpPr>
          <a:xfrm>
            <a:off x="6371312" y="2636679"/>
            <a:ext cx="647956" cy="647956"/>
            <a:chOff x="6411421" y="2492866"/>
            <a:chExt cx="647956" cy="647956"/>
          </a:xfrm>
        </p:grpSpPr>
        <p:sp>
          <p:nvSpPr>
            <p:cNvPr id="26" name="Oval 25">
              <a:extLst>
                <a:ext uri="{FF2B5EF4-FFF2-40B4-BE49-F238E27FC236}">
                  <a16:creationId xmlns:a16="http://schemas.microsoft.com/office/drawing/2014/main" id="{D0434839-5CDD-6805-E929-E5B88577D1A6}"/>
                </a:ext>
              </a:extLst>
            </p:cNvPr>
            <p:cNvSpPr/>
            <p:nvPr userDrawn="1"/>
          </p:nvSpPr>
          <p:spPr>
            <a:xfrm>
              <a:off x="6411421" y="2492866"/>
              <a:ext cx="647956" cy="647956"/>
            </a:xfrm>
            <a:prstGeom prst="ellipse">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sz="2000">
                <a:latin typeface="Arial" panose="020B0604020202020204" pitchFamily="34" charset="0"/>
                <a:cs typeface="Arial" panose="020B0604020202020204" pitchFamily="34" charset="0"/>
              </a:endParaRPr>
            </a:p>
          </p:txBody>
        </p:sp>
        <p:pic>
          <p:nvPicPr>
            <p:cNvPr id="35" name="Graphic 34" descr="Research outline">
              <a:extLst>
                <a:ext uri="{FF2B5EF4-FFF2-40B4-BE49-F238E27FC236}">
                  <a16:creationId xmlns:a16="http://schemas.microsoft.com/office/drawing/2014/main" id="{E002F006-80FD-2E58-DCB4-52FEFA3A2BD5}"/>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6536010" y="2589152"/>
              <a:ext cx="444519" cy="444519"/>
            </a:xfrm>
            <a:prstGeom prst="rect">
              <a:avLst/>
            </a:prstGeom>
          </p:spPr>
        </p:pic>
      </p:grpSp>
      <p:pic>
        <p:nvPicPr>
          <p:cNvPr id="36" name="Graphic 35" descr="Upward trend outline">
            <a:extLst>
              <a:ext uri="{FF2B5EF4-FFF2-40B4-BE49-F238E27FC236}">
                <a16:creationId xmlns:a16="http://schemas.microsoft.com/office/drawing/2014/main" id="{BFDC6136-5D4F-F76B-5644-00EC86BA3DA0}"/>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834441" y="2283959"/>
            <a:ext cx="369770" cy="369770"/>
          </a:xfrm>
          <a:prstGeom prst="rect">
            <a:avLst/>
          </a:prstGeom>
        </p:spPr>
      </p:pic>
      <p:pic>
        <p:nvPicPr>
          <p:cNvPr id="37" name="Graphic 36" descr="Flip calendar outline">
            <a:extLst>
              <a:ext uri="{FF2B5EF4-FFF2-40B4-BE49-F238E27FC236}">
                <a16:creationId xmlns:a16="http://schemas.microsoft.com/office/drawing/2014/main" id="{CEC24FD9-08C1-4C19-185A-583DE471E39C}"/>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792947" y="3186806"/>
            <a:ext cx="446550" cy="446550"/>
          </a:xfrm>
          <a:prstGeom prst="rect">
            <a:avLst/>
          </a:prstGeom>
        </p:spPr>
      </p:pic>
      <p:pic>
        <p:nvPicPr>
          <p:cNvPr id="38" name="Graphic 37" descr="Money outline">
            <a:extLst>
              <a:ext uri="{FF2B5EF4-FFF2-40B4-BE49-F238E27FC236}">
                <a16:creationId xmlns:a16="http://schemas.microsoft.com/office/drawing/2014/main" id="{C22AF21B-1DE3-5C3D-81F7-CF1311049F1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863979" y="5012002"/>
            <a:ext cx="381584" cy="381584"/>
          </a:xfrm>
          <a:prstGeom prst="rect">
            <a:avLst/>
          </a:prstGeom>
        </p:spPr>
      </p:pic>
      <p:pic>
        <p:nvPicPr>
          <p:cNvPr id="39" name="Graphic 38" descr="Glasses outline">
            <a:extLst>
              <a:ext uri="{FF2B5EF4-FFF2-40B4-BE49-F238E27FC236}">
                <a16:creationId xmlns:a16="http://schemas.microsoft.com/office/drawing/2014/main" id="{60D2271D-0BA9-93D2-C4EE-2F409B5E79CE}"/>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858580" y="4148357"/>
            <a:ext cx="373080" cy="373080"/>
          </a:xfrm>
          <a:prstGeom prst="rect">
            <a:avLst/>
          </a:prstGeom>
        </p:spPr>
      </p:pic>
      <p:sp>
        <p:nvSpPr>
          <p:cNvPr id="42" name="Context Variables">
            <a:extLst>
              <a:ext uri="{FF2B5EF4-FFF2-40B4-BE49-F238E27FC236}">
                <a16:creationId xmlns:a16="http://schemas.microsoft.com/office/drawing/2014/main" id="{28C1EA55-F2E7-A74E-5C2A-8057922F99DA}"/>
              </a:ext>
            </a:extLst>
          </p:cNvPr>
          <p:cNvSpPr>
            <a:spLocks noGrp="1"/>
          </p:cNvSpPr>
          <p:nvPr>
            <p:ph sz="quarter" idx="21"/>
          </p:nvPr>
        </p:nvSpPr>
        <p:spPr>
          <a:xfrm>
            <a:off x="7721023" y="4863938"/>
            <a:ext cx="3710782" cy="443285"/>
          </a:xfrm>
        </p:spPr>
        <p:txBody>
          <a:bodyPr>
            <a:noAutofit/>
          </a:bodyPr>
          <a:lstStyle>
            <a:lvl1pPr marL="0" indent="0">
              <a:buNone/>
              <a:defRPr sz="1100">
                <a:latin typeface="Arial" panose="020B0604020202020204" pitchFamily="34" charset="0"/>
                <a:cs typeface="Arial" panose="020B0604020202020204" pitchFamily="34" charset="0"/>
              </a:defRPr>
            </a:lvl1pPr>
          </a:lstStyle>
          <a:p>
            <a:endParaRPr dirty="0"/>
          </a:p>
        </p:txBody>
      </p:sp>
      <p:sp>
        <p:nvSpPr>
          <p:cNvPr id="43" name="Organic Variables">
            <a:extLst>
              <a:ext uri="{FF2B5EF4-FFF2-40B4-BE49-F238E27FC236}">
                <a16:creationId xmlns:a16="http://schemas.microsoft.com/office/drawing/2014/main" id="{B4BACFB0-7A29-0210-C430-3B0E35F4B518}"/>
              </a:ext>
            </a:extLst>
          </p:cNvPr>
          <p:cNvSpPr>
            <a:spLocks noGrp="1"/>
          </p:cNvSpPr>
          <p:nvPr>
            <p:ph sz="quarter" idx="22"/>
          </p:nvPr>
        </p:nvSpPr>
        <p:spPr>
          <a:xfrm>
            <a:off x="7726371" y="3855642"/>
            <a:ext cx="3710782" cy="443285"/>
          </a:xfrm>
        </p:spPr>
        <p:txBody>
          <a:bodyPr>
            <a:noAutofit/>
          </a:bodyPr>
          <a:lstStyle>
            <a:lvl1pPr marL="0" indent="0">
              <a:buNone/>
              <a:defRPr sz="1100">
                <a:latin typeface="Arial" panose="020B0604020202020204" pitchFamily="34" charset="0"/>
                <a:cs typeface="Arial" panose="020B0604020202020204" pitchFamily="34" charset="0"/>
              </a:defRPr>
            </a:lvl1pPr>
          </a:lstStyle>
          <a:p>
            <a:endParaRPr dirty="0"/>
          </a:p>
        </p:txBody>
      </p:sp>
      <p:sp>
        <p:nvSpPr>
          <p:cNvPr id="50" name="Rectangle 49">
            <a:extLst>
              <a:ext uri="{FF2B5EF4-FFF2-40B4-BE49-F238E27FC236}">
                <a16:creationId xmlns:a16="http://schemas.microsoft.com/office/drawing/2014/main" id="{A5A22E4E-5EF3-7784-F569-A25DDBBF7DCA}"/>
              </a:ext>
            </a:extLst>
          </p:cNvPr>
          <p:cNvSpPr/>
          <p:nvPr userDrawn="1"/>
        </p:nvSpPr>
        <p:spPr>
          <a:xfrm>
            <a:off x="355635" y="1292331"/>
            <a:ext cx="5620226" cy="39962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45714" tIns="45714" rIns="45714" bIns="45714" numCol="1" rtlCol="0" anchor="ctr" anchorCtr="0" compatLnSpc="1">
            <a:prstTxWarp prst="textNoShape">
              <a:avLst/>
            </a:prstTxWarp>
          </a:bodyPr>
          <a:lstStyle/>
          <a:p>
            <a:pPr algn="ctr" fontAlgn="base">
              <a:spcBef>
                <a:spcPct val="0"/>
              </a:spcBef>
              <a:spcAft>
                <a:spcPct val="0"/>
              </a:spcAft>
            </a:pPr>
            <a:r>
              <a:rPr lang="en-US" sz="2000" b="1" kern="0" dirty="0">
                <a:solidFill>
                  <a:schemeClr val="bg1"/>
                </a:solidFill>
                <a:latin typeface="Arial" panose="020B0604020202020204" pitchFamily="34" charset="0"/>
                <a:cs typeface="Arial" panose="020B0604020202020204" pitchFamily="34" charset="0"/>
              </a:rPr>
              <a:t>Model Coverage</a:t>
            </a:r>
          </a:p>
        </p:txBody>
      </p:sp>
      <p:sp>
        <p:nvSpPr>
          <p:cNvPr id="51" name="Rectangle 50">
            <a:extLst>
              <a:ext uri="{FF2B5EF4-FFF2-40B4-BE49-F238E27FC236}">
                <a16:creationId xmlns:a16="http://schemas.microsoft.com/office/drawing/2014/main" id="{2D356860-BEDC-D2CE-854F-9992C3330CC5}"/>
              </a:ext>
            </a:extLst>
          </p:cNvPr>
          <p:cNvSpPr/>
          <p:nvPr userDrawn="1"/>
        </p:nvSpPr>
        <p:spPr>
          <a:xfrm>
            <a:off x="6203300" y="1297498"/>
            <a:ext cx="5620226" cy="39678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45714" tIns="45714" rIns="45714" bIns="45714" numCol="1" rtlCol="0" anchor="ctr" anchorCtr="0" compatLnSpc="1">
            <a:prstTxWarp prst="textNoShape">
              <a:avLst/>
            </a:prstTxWarp>
          </a:bodyPr>
          <a:lstStyle/>
          <a:p>
            <a:pPr algn="ctr" fontAlgn="base">
              <a:spcBef>
                <a:spcPct val="0"/>
              </a:spcBef>
              <a:spcAft>
                <a:spcPct val="0"/>
              </a:spcAft>
            </a:pPr>
            <a:r>
              <a:rPr lang="en-US" sz="2000" b="1" kern="0" dirty="0">
                <a:solidFill>
                  <a:schemeClr val="bg1"/>
                </a:solidFill>
                <a:latin typeface="Arial" panose="020B0604020202020204" pitchFamily="34" charset="0"/>
                <a:cs typeface="Arial" panose="020B0604020202020204" pitchFamily="34" charset="0"/>
              </a:rPr>
              <a:t>Variables Used</a:t>
            </a:r>
          </a:p>
        </p:txBody>
      </p:sp>
      <p:sp>
        <p:nvSpPr>
          <p:cNvPr id="3" name="Paid Variables">
            <a:extLst>
              <a:ext uri="{FF2B5EF4-FFF2-40B4-BE49-F238E27FC236}">
                <a16:creationId xmlns:a16="http://schemas.microsoft.com/office/drawing/2014/main" id="{41FADAAE-0FC8-F77B-BA63-6AA824277CF0}"/>
              </a:ext>
            </a:extLst>
          </p:cNvPr>
          <p:cNvSpPr>
            <a:spLocks noGrp="1"/>
          </p:cNvSpPr>
          <p:nvPr>
            <p:ph sz="quarter" idx="23"/>
          </p:nvPr>
        </p:nvSpPr>
        <p:spPr>
          <a:xfrm>
            <a:off x="7721023" y="2863508"/>
            <a:ext cx="3710782" cy="443285"/>
          </a:xfrm>
        </p:spPr>
        <p:txBody>
          <a:bodyPr>
            <a:noAutofit/>
          </a:bodyPr>
          <a:lstStyle>
            <a:lvl1pPr marL="0" indent="0">
              <a:buNone/>
              <a:defRPr sz="1100">
                <a:latin typeface="Arial" panose="020B0604020202020204" pitchFamily="34" charset="0"/>
                <a:cs typeface="Arial" panose="020B0604020202020204" pitchFamily="34" charset="0"/>
              </a:defRPr>
            </a:lvl1pPr>
          </a:lstStyle>
          <a:p>
            <a:endParaRPr dirty="0"/>
          </a:p>
        </p:txBody>
      </p:sp>
    </p:spTree>
    <p:custDataLst>
      <p:tags r:id="rId1"/>
    </p:custDataLst>
    <p:extLst>
      <p:ext uri="{BB962C8B-B14F-4D97-AF65-F5344CB8AC3E}">
        <p14:creationId xmlns:p14="http://schemas.microsoft.com/office/powerpoint/2010/main" val="205052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odel_select">
    <p:spTree>
      <p:nvGrpSpPr>
        <p:cNvPr id="1" name=""/>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524950EA-7FEC-91CE-2FDC-D2595F5E8F73}"/>
              </a:ext>
            </a:extLst>
          </p:cNvPr>
          <p:cNvGraphicFramePr>
            <a:graphicFrameLocks noChangeAspect="1"/>
          </p:cNvGraphicFramePr>
          <p:nvPr userDrawn="1">
            <p:custDataLst>
              <p:tags r:id="rId2"/>
            </p:custDataLst>
            <p:extLst>
              <p:ext uri="{D42A27DB-BD31-4B8C-83A1-F6EECF244321}">
                <p14:modId xmlns:p14="http://schemas.microsoft.com/office/powerpoint/2010/main" val="356944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4" imgH="425" progId="TCLayout.ActiveDocument.1">
                  <p:embed/>
                </p:oleObj>
              </mc:Choice>
              <mc:Fallback>
                <p:oleObj name="think-cell Slide" r:id="rId4" imgW="424" imgH="425" progId="TCLayout.ActiveDocument.1">
                  <p:embed/>
                  <p:pic>
                    <p:nvPicPr>
                      <p:cNvPr id="44" name="think-cell data - do not delete" hidden="1">
                        <a:extLst>
                          <a:ext uri="{FF2B5EF4-FFF2-40B4-BE49-F238E27FC236}">
                            <a16:creationId xmlns:a16="http://schemas.microsoft.com/office/drawing/2014/main" id="{524950EA-7FEC-91CE-2FDC-D2595F5E8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lvl1pPr>
              <a:defRPr>
                <a:latin typeface="Arial" panose="020B0604020202020204" pitchFamily="34" charset="0"/>
                <a:cs typeface="Arial" panose="020B0604020202020204" pitchFamily="34" charset="0"/>
              </a:defRPr>
            </a:lvl1pPr>
          </a:lstStyle>
          <a:p>
            <a:fld id="{9F9F533D-B52E-4A2F-BF72-0ADD2D94BD75}" type="slidenum">
              <a:rPr lang="en-GB" smtClean="0"/>
              <a:pPr/>
              <a:t>‹#›</a:t>
            </a:fld>
            <a:endParaRPr lang="en-GB" dirty="0"/>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lvl1pPr>
              <a:defRPr>
                <a:latin typeface="Arial" panose="020B0604020202020204" pitchFamily="34" charset="0"/>
                <a:cs typeface="Arial" panose="020B0604020202020204" pitchFamily="34" charset="0"/>
              </a:defRPr>
            </a:lvl1pPr>
          </a:lstStyle>
          <a:p>
            <a:fld id="{346B58B4-0D72-4C8B-9355-854FB5782278}" type="datetime4">
              <a:rPr lang="en-GB" smtClean="0"/>
              <a:pPr/>
              <a:t>21 August 2025</a:t>
            </a:fld>
            <a:endParaRPr lang="en-GB" dirty="0"/>
          </a:p>
        </p:txBody>
      </p:sp>
      <p:sp>
        <p:nvSpPr>
          <p:cNvPr id="8" name="Title">
            <a:extLst>
              <a:ext uri="{FF2B5EF4-FFF2-40B4-BE49-F238E27FC236}">
                <a16:creationId xmlns:a16="http://schemas.microsoft.com/office/drawing/2014/main" id="{3484351E-5906-1465-ED52-DA75D3630DE8}"/>
              </a:ext>
            </a:extLst>
          </p:cNvPr>
          <p:cNvSpPr>
            <a:spLocks noGrp="1"/>
          </p:cNvSpPr>
          <p:nvPr>
            <p:ph type="title" hasCustomPrompt="1"/>
          </p:nvPr>
        </p:nvSpPr>
        <p:spPr>
          <a:xfrm>
            <a:off x="365125" y="242888"/>
            <a:ext cx="11460163" cy="430887"/>
          </a:xfrm>
        </p:spPr>
        <p:txBody>
          <a:bodyPr vert="horz"/>
          <a:lstStyle>
            <a:lvl1pPr>
              <a:defRPr>
                <a:latin typeface="Arial" panose="020B0604020202020204" pitchFamily="34" charset="0"/>
                <a:cs typeface="Arial" panose="020B0604020202020204" pitchFamily="34" charset="0"/>
              </a:defRPr>
            </a:lvl1pPr>
          </a:lstStyle>
          <a:p>
            <a:r>
              <a:rPr lang="en-US" dirty="0"/>
              <a:t>Model Selection</a:t>
            </a:r>
          </a:p>
        </p:txBody>
      </p:sp>
      <p:sp>
        <p:nvSpPr>
          <p:cNvPr id="9" name="Subtitle">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2054" y="749558"/>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b="0" i="0">
                <a:solidFill>
                  <a:schemeClr val="tx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title summary</a:t>
            </a:r>
          </a:p>
        </p:txBody>
      </p:sp>
      <p:sp>
        <p:nvSpPr>
          <p:cNvPr id="12" name="Freeform: Shape 11">
            <a:extLst>
              <a:ext uri="{FF2B5EF4-FFF2-40B4-BE49-F238E27FC236}">
                <a16:creationId xmlns:a16="http://schemas.microsoft.com/office/drawing/2014/main" id="{8DBDFC7D-EB75-1C71-FBB6-74679DF5FB23}"/>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Arial" panose="020B0604020202020204" pitchFamily="34" charset="0"/>
              <a:cs typeface="Arial" panose="020B0604020202020204" pitchFamily="34" charset="0"/>
            </a:endParaRPr>
          </a:p>
        </p:txBody>
      </p:sp>
      <p:sp>
        <p:nvSpPr>
          <p:cNvPr id="2" name="Freeform: Shape 1">
            <a:extLst>
              <a:ext uri="{FF2B5EF4-FFF2-40B4-BE49-F238E27FC236}">
                <a16:creationId xmlns:a16="http://schemas.microsoft.com/office/drawing/2014/main" id="{BB627EE7-29BC-7E7B-5DF4-1D96E07AD3F9}"/>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Arial" panose="020B0604020202020204" pitchFamily="34" charset="0"/>
              <a:cs typeface="Arial" panose="020B0604020202020204" pitchFamily="34" charset="0"/>
            </a:endParaRPr>
          </a:p>
        </p:txBody>
      </p:sp>
      <p:sp>
        <p:nvSpPr>
          <p:cNvPr id="30" name="Total Models">
            <a:extLst>
              <a:ext uri="{FF2B5EF4-FFF2-40B4-BE49-F238E27FC236}">
                <a16:creationId xmlns:a16="http://schemas.microsoft.com/office/drawing/2014/main" id="{C62DF908-1D66-C5FB-5076-D9DE5CEC34EB}"/>
              </a:ext>
            </a:extLst>
          </p:cNvPr>
          <p:cNvSpPr>
            <a:spLocks noGrp="1"/>
          </p:cNvSpPr>
          <p:nvPr>
            <p:ph sz="quarter" idx="17" hasCustomPrompt="1"/>
          </p:nvPr>
        </p:nvSpPr>
        <p:spPr>
          <a:xfrm>
            <a:off x="931069" y="1889425"/>
            <a:ext cx="1298074" cy="390362"/>
          </a:xfrm>
        </p:spPr>
        <p:txBody>
          <a:bodyPr>
            <a:noAutofit/>
          </a:bodyPr>
          <a:lstStyle>
            <a:lvl1pPr marL="0" indent="0" algn="ctr">
              <a:buNone/>
              <a:defRPr sz="3600" b="1">
                <a:latin typeface="Arial" panose="020B0604020202020204" pitchFamily="34" charset="0"/>
                <a:cs typeface="Arial" panose="020B0604020202020204" pitchFamily="34" charset="0"/>
              </a:defRPr>
            </a:lvl1pPr>
          </a:lstStyle>
          <a:p>
            <a:r>
              <a:rPr lang="es-ES" dirty="0"/>
              <a:t>0</a:t>
            </a:r>
            <a:endParaRPr dirty="0"/>
          </a:p>
        </p:txBody>
      </p:sp>
      <p:sp>
        <p:nvSpPr>
          <p:cNvPr id="31" name="Best Models">
            <a:extLst>
              <a:ext uri="{FF2B5EF4-FFF2-40B4-BE49-F238E27FC236}">
                <a16:creationId xmlns:a16="http://schemas.microsoft.com/office/drawing/2014/main" id="{D815585C-8028-0CD7-D52B-3AD1A0D9310A}"/>
              </a:ext>
            </a:extLst>
          </p:cNvPr>
          <p:cNvSpPr>
            <a:spLocks noGrp="1"/>
          </p:cNvSpPr>
          <p:nvPr>
            <p:ph sz="quarter" idx="18" hasCustomPrompt="1"/>
          </p:nvPr>
        </p:nvSpPr>
        <p:spPr>
          <a:xfrm>
            <a:off x="4077701" y="1866725"/>
            <a:ext cx="1252332" cy="409547"/>
          </a:xfrm>
        </p:spPr>
        <p:txBody>
          <a:bodyPr>
            <a:noAutofit/>
          </a:bodyPr>
          <a:lstStyle>
            <a:lvl1pPr marL="0" indent="0" algn="ctr">
              <a:buNone/>
              <a:defRPr sz="3600" b="1">
                <a:latin typeface="Arial" panose="020B0604020202020204" pitchFamily="34" charset="0"/>
                <a:cs typeface="Arial" panose="020B0604020202020204" pitchFamily="34" charset="0"/>
              </a:defRPr>
            </a:lvl1pPr>
          </a:lstStyle>
          <a:p>
            <a:r>
              <a:rPr lang="es-ES" dirty="0"/>
              <a:t>0</a:t>
            </a:r>
            <a:endParaRPr dirty="0"/>
          </a:p>
        </p:txBody>
      </p:sp>
      <p:sp>
        <p:nvSpPr>
          <p:cNvPr id="6" name="Arrow: Right 5">
            <a:extLst>
              <a:ext uri="{FF2B5EF4-FFF2-40B4-BE49-F238E27FC236}">
                <a16:creationId xmlns:a16="http://schemas.microsoft.com/office/drawing/2014/main" id="{0C6CD4C1-82DD-8315-2C02-CC4A4D597C32}"/>
              </a:ext>
            </a:extLst>
          </p:cNvPr>
          <p:cNvSpPr/>
          <p:nvPr userDrawn="1"/>
        </p:nvSpPr>
        <p:spPr bwMode="auto">
          <a:xfrm>
            <a:off x="362054" y="1291104"/>
            <a:ext cx="2776537" cy="409575"/>
          </a:xfrm>
          <a:prstGeom prst="rightArrow">
            <a:avLst>
              <a:gd name="adj1" fmla="val 100000"/>
              <a:gd name="adj2" fmla="val 50000"/>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2000" b="1" kern="0" dirty="0">
                <a:solidFill>
                  <a:schemeClr val="bg1"/>
                </a:solidFill>
                <a:latin typeface="Arial" panose="020B0604020202020204" pitchFamily="34" charset="0"/>
                <a:cs typeface="Arial" panose="020B0604020202020204" pitchFamily="34" charset="0"/>
              </a:rPr>
              <a:t>Total models</a:t>
            </a:r>
          </a:p>
        </p:txBody>
      </p:sp>
      <p:sp>
        <p:nvSpPr>
          <p:cNvPr id="23" name="Arrow: Right 22">
            <a:extLst>
              <a:ext uri="{FF2B5EF4-FFF2-40B4-BE49-F238E27FC236}">
                <a16:creationId xmlns:a16="http://schemas.microsoft.com/office/drawing/2014/main" id="{446E1CEF-3909-0250-259B-59842A95C582}"/>
              </a:ext>
            </a:extLst>
          </p:cNvPr>
          <p:cNvSpPr/>
          <p:nvPr userDrawn="1"/>
        </p:nvSpPr>
        <p:spPr bwMode="auto">
          <a:xfrm>
            <a:off x="3315599" y="1297498"/>
            <a:ext cx="2776537" cy="409575"/>
          </a:xfrm>
          <a:prstGeom prst="rightArrow">
            <a:avLst>
              <a:gd name="adj1" fmla="val 100000"/>
              <a:gd name="adj2" fmla="val 50000"/>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2000" b="1" kern="0" dirty="0">
                <a:solidFill>
                  <a:schemeClr val="bg1"/>
                </a:solidFill>
                <a:latin typeface="Arial" panose="020B0604020202020204" pitchFamily="34" charset="0"/>
                <a:cs typeface="Arial" panose="020B0604020202020204" pitchFamily="34" charset="0"/>
              </a:rPr>
              <a:t>Best models</a:t>
            </a:r>
          </a:p>
        </p:txBody>
      </p:sp>
      <p:sp>
        <p:nvSpPr>
          <p:cNvPr id="40" name="Arrow: Right 39">
            <a:extLst>
              <a:ext uri="{FF2B5EF4-FFF2-40B4-BE49-F238E27FC236}">
                <a16:creationId xmlns:a16="http://schemas.microsoft.com/office/drawing/2014/main" id="{7086E245-1BBF-F8EC-7AAB-A72D87062DC5}"/>
              </a:ext>
            </a:extLst>
          </p:cNvPr>
          <p:cNvSpPr/>
          <p:nvPr userDrawn="1"/>
        </p:nvSpPr>
        <p:spPr bwMode="auto">
          <a:xfrm>
            <a:off x="6269144" y="1297498"/>
            <a:ext cx="5560802" cy="409575"/>
          </a:xfrm>
          <a:prstGeom prst="rightArrow">
            <a:avLst>
              <a:gd name="adj1" fmla="val 100000"/>
              <a:gd name="adj2" fmla="val 0"/>
            </a:avLst>
          </a:prstGeom>
          <a:solidFill>
            <a:srgbClr val="F36633"/>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tx2"/>
              </a:buClr>
              <a:buSzPct val="110000"/>
            </a:pPr>
            <a:r>
              <a:rPr lang="en-US" sz="2000" b="1" kern="0" dirty="0">
                <a:solidFill>
                  <a:schemeClr val="bg1"/>
                </a:solidFill>
                <a:latin typeface="Arial" panose="020B0604020202020204" pitchFamily="34" charset="0"/>
                <a:cs typeface="Arial" panose="020B0604020202020204" pitchFamily="34" charset="0"/>
              </a:rPr>
              <a:t>Selected models based on ranked criteria</a:t>
            </a:r>
          </a:p>
        </p:txBody>
      </p:sp>
      <p:sp>
        <p:nvSpPr>
          <p:cNvPr id="45" name="Selected Model">
            <a:extLst>
              <a:ext uri="{FF2B5EF4-FFF2-40B4-BE49-F238E27FC236}">
                <a16:creationId xmlns:a16="http://schemas.microsoft.com/office/drawing/2014/main" id="{402A6F5E-398A-7B50-A461-68FDCD3B5ACD}"/>
              </a:ext>
            </a:extLst>
          </p:cNvPr>
          <p:cNvSpPr>
            <a:spLocks noGrp="1"/>
          </p:cNvSpPr>
          <p:nvPr>
            <p:ph sz="quarter" idx="19" hasCustomPrompt="1"/>
          </p:nvPr>
        </p:nvSpPr>
        <p:spPr>
          <a:xfrm>
            <a:off x="8423379" y="1866724"/>
            <a:ext cx="1252332" cy="409547"/>
          </a:xfrm>
        </p:spPr>
        <p:txBody>
          <a:bodyPr>
            <a:noAutofit/>
          </a:bodyPr>
          <a:lstStyle>
            <a:lvl1pPr marL="0" indent="0" algn="ctr">
              <a:buNone/>
              <a:defRPr sz="3600" b="1">
                <a:latin typeface="Arial" panose="020B0604020202020204" pitchFamily="34" charset="0"/>
                <a:cs typeface="Arial" panose="020B0604020202020204" pitchFamily="34" charset="0"/>
              </a:defRPr>
            </a:lvl1pPr>
          </a:lstStyle>
          <a:p>
            <a:r>
              <a:rPr lang="es-ES" dirty="0"/>
              <a:t>0</a:t>
            </a:r>
            <a:endParaRPr dirty="0"/>
          </a:p>
        </p:txBody>
      </p:sp>
      <p:sp>
        <p:nvSpPr>
          <p:cNvPr id="47" name="Text">
            <a:extLst>
              <a:ext uri="{FF2B5EF4-FFF2-40B4-BE49-F238E27FC236}">
                <a16:creationId xmlns:a16="http://schemas.microsoft.com/office/drawing/2014/main" id="{BE408383-CE48-02E3-EC06-573D6992BE41}"/>
              </a:ext>
            </a:extLst>
          </p:cNvPr>
          <p:cNvSpPr>
            <a:spLocks noGrp="1"/>
          </p:cNvSpPr>
          <p:nvPr>
            <p:ph type="body" sz="quarter" idx="22" hasCustomPrompt="1"/>
          </p:nvPr>
        </p:nvSpPr>
        <p:spPr>
          <a:xfrm>
            <a:off x="6269144" y="2687543"/>
            <a:ext cx="5491164" cy="3494182"/>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36000">
            <a:noAutofit/>
          </a:bodyPr>
          <a:lstStyle>
            <a:lvl1pPr marL="342900" indent="-342900">
              <a:buFont typeface="Arial" panose="020B0604020202020204" pitchFamily="34" charset="0"/>
              <a:buChar char="•"/>
              <a:defRPr sz="1800" b="0">
                <a:latin typeface="Arial" panose="020B0604020202020204" pitchFamily="34" charset="0"/>
                <a:cs typeface="Arial" panose="020B0604020202020204" pitchFamily="34" charset="0"/>
              </a:defRPr>
            </a:lvl1pPr>
            <a:lvl2pPr marL="357542" indent="0">
              <a:buNone/>
              <a:defRPr/>
            </a:lvl2pPr>
            <a:lvl3pPr marL="719982" indent="0">
              <a:buNone/>
              <a:defRPr/>
            </a:lvl3pPr>
            <a:lvl4pPr marL="1081424" indent="0">
              <a:buNone/>
              <a:defRPr/>
            </a:lvl4pPr>
            <a:lvl5pPr marL="1439964" indent="0">
              <a:buNone/>
              <a:defRPr/>
            </a:lvl5pPr>
          </a:lstStyle>
          <a:p>
            <a:pPr lvl="0"/>
            <a:r>
              <a:rPr lang="en-US" dirty="0"/>
              <a:t>Click to enter TEXT content ONLY.</a:t>
            </a:r>
            <a:br>
              <a:rPr lang="en-US" dirty="0"/>
            </a:br>
            <a:r>
              <a:rPr lang="en-US" dirty="0"/>
              <a:t>If text content appears outside of grey holder please reduce the size of the font.</a:t>
            </a:r>
          </a:p>
        </p:txBody>
      </p:sp>
      <p:sp>
        <p:nvSpPr>
          <p:cNvPr id="3" name="Plot">
            <a:extLst>
              <a:ext uri="{FF2B5EF4-FFF2-40B4-BE49-F238E27FC236}">
                <a16:creationId xmlns:a16="http://schemas.microsoft.com/office/drawing/2014/main" id="{BE98E592-9C55-57DA-9D2A-7AA25BD29319}"/>
              </a:ext>
            </a:extLst>
          </p:cNvPr>
          <p:cNvSpPr>
            <a:spLocks noGrp="1"/>
          </p:cNvSpPr>
          <p:nvPr>
            <p:ph type="pic" sz="quarter" idx="23"/>
          </p:nvPr>
        </p:nvSpPr>
        <p:spPr>
          <a:xfrm>
            <a:off x="365124" y="2687542"/>
            <a:ext cx="5727011" cy="3494182"/>
          </a:xfrm>
        </p:spPr>
        <p:txBody>
          <a:bodyPr/>
          <a:lstStyle>
            <a:lvl1pPr marL="0" indent="0">
              <a:buNone/>
              <a:defRPr>
                <a:latin typeface="Arial" panose="020B0604020202020204" pitchFamily="34" charset="0"/>
                <a:cs typeface="Arial" panose="020B0604020202020204" pitchFamily="34" charset="0"/>
              </a:defRPr>
            </a:lvl1pPr>
          </a:lstStyle>
          <a:p>
            <a:endParaRPr lang="en-US"/>
          </a:p>
        </p:txBody>
      </p:sp>
    </p:spTree>
    <p:custDataLst>
      <p:tags r:id="rId1"/>
    </p:custDataLst>
    <p:extLst>
      <p:ext uri="{BB962C8B-B14F-4D97-AF65-F5344CB8AC3E}">
        <p14:creationId xmlns:p14="http://schemas.microsoft.com/office/powerpoint/2010/main" val="146060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port_plots">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0D8C276-70E3-1124-D032-556F8DD36059}"/>
              </a:ext>
            </a:extLst>
          </p:cNvPr>
          <p:cNvGraphicFramePr>
            <a:graphicFrameLocks noChangeAspect="1"/>
          </p:cNvGraphicFramePr>
          <p:nvPr userDrawn="1">
            <p:custDataLst>
              <p:tags r:id="rId2"/>
            </p:custDataLst>
            <p:extLst>
              <p:ext uri="{D42A27DB-BD31-4B8C-83A1-F6EECF244321}">
                <p14:modId xmlns:p14="http://schemas.microsoft.com/office/powerpoint/2010/main" val="2941982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4" imgH="425" progId="TCLayout.ActiveDocument.1">
                  <p:embed/>
                </p:oleObj>
              </mc:Choice>
              <mc:Fallback>
                <p:oleObj name="think-cell Slide" r:id="rId4" imgW="424" imgH="425" progId="TCLayout.ActiveDocument.1">
                  <p:embed/>
                  <p:pic>
                    <p:nvPicPr>
                      <p:cNvPr id="24" name="think-cell data - do not delete" hidden="1">
                        <a:extLst>
                          <a:ext uri="{FF2B5EF4-FFF2-40B4-BE49-F238E27FC236}">
                            <a16:creationId xmlns:a16="http://schemas.microsoft.com/office/drawing/2014/main" id="{00D8C276-70E3-1124-D032-556F8DD360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1F916AAF-BD81-5FB7-CEE9-743C14ACA8E1}"/>
              </a:ext>
            </a:extLst>
          </p:cNvPr>
          <p:cNvSpPr/>
          <p:nvPr userDrawn="1"/>
        </p:nvSpPr>
        <p:spPr>
          <a:xfrm>
            <a:off x="355635" y="1292331"/>
            <a:ext cx="5620226" cy="39962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45714" tIns="45714" rIns="45714" bIns="45714" numCol="1" rtlCol="0" anchor="ctr" anchorCtr="0" compatLnSpc="1">
            <a:prstTxWarp prst="textNoShape">
              <a:avLst/>
            </a:prstTxWarp>
          </a:bodyPr>
          <a:lstStyle/>
          <a:p>
            <a:pPr algn="ctr" fontAlgn="base">
              <a:spcBef>
                <a:spcPct val="0"/>
              </a:spcBef>
              <a:spcAft>
                <a:spcPct val="0"/>
              </a:spcAft>
            </a:pPr>
            <a:endParaRPr lang="en-US" sz="2000" b="1" kern="0" dirty="0">
              <a:solidFill>
                <a:schemeClr val="bg1"/>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2E08D791-9EC4-87F3-0092-58553FBB2C17}"/>
              </a:ext>
            </a:extLst>
          </p:cNvPr>
          <p:cNvSpPr/>
          <p:nvPr userDrawn="1"/>
        </p:nvSpPr>
        <p:spPr>
          <a:xfrm>
            <a:off x="6203300" y="1297498"/>
            <a:ext cx="5620226" cy="396789"/>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45714" tIns="45714" rIns="45714" bIns="45714" numCol="1" rtlCol="0" anchor="ctr" anchorCtr="0" compatLnSpc="1">
            <a:prstTxWarp prst="textNoShape">
              <a:avLst/>
            </a:prstTxWarp>
          </a:bodyPr>
          <a:lstStyle/>
          <a:p>
            <a:pPr algn="ctr" fontAlgn="base">
              <a:spcBef>
                <a:spcPct val="0"/>
              </a:spcBef>
              <a:spcAft>
                <a:spcPct val="0"/>
              </a:spcAft>
            </a:pPr>
            <a:r>
              <a:rPr lang="en-US" sz="2000" b="1" kern="0" dirty="0">
                <a:solidFill>
                  <a:schemeClr val="bg1"/>
                </a:solidFill>
                <a:latin typeface="Arial" panose="020B0604020202020204" pitchFamily="34" charset="0"/>
                <a:cs typeface="Arial" panose="020B0604020202020204" pitchFamily="34" charset="0"/>
              </a:rPr>
              <a:t>Model</a:t>
            </a:r>
            <a:r>
              <a:rPr lang="en-US" sz="2000" b="1" kern="0" baseline="0" dirty="0">
                <a:solidFill>
                  <a:schemeClr val="bg1"/>
                </a:solidFill>
                <a:latin typeface="Arial" panose="020B0604020202020204" pitchFamily="34" charset="0"/>
                <a:cs typeface="Arial" panose="020B0604020202020204" pitchFamily="34" charset="0"/>
              </a:rPr>
              <a:t> Accuracy</a:t>
            </a:r>
            <a:endParaRPr lang="en-US" sz="2000" b="1" kern="0" dirty="0">
              <a:solidFill>
                <a:schemeClr val="bg1"/>
              </a:solidFill>
              <a:latin typeface="Arial" panose="020B0604020202020204" pitchFamily="34" charset="0"/>
              <a:cs typeface="Arial" panose="020B0604020202020204" pitchFamily="34" charset="0"/>
            </a:endParaRPr>
          </a:p>
        </p:txBody>
      </p:sp>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lvl1pPr>
              <a:defRPr>
                <a:latin typeface="Arial" panose="020B0604020202020204" pitchFamily="34" charset="0"/>
                <a:cs typeface="Arial" panose="020B0604020202020204" pitchFamily="34" charset="0"/>
              </a:defRPr>
            </a:lvl1pPr>
          </a:lstStyle>
          <a:p>
            <a:endParaRPr lang="en-GB" dirty="0"/>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lvl1pPr>
              <a:defRPr>
                <a:latin typeface="Arial" panose="020B0604020202020204" pitchFamily="34" charset="0"/>
                <a:cs typeface="Arial" panose="020B0604020202020204" pitchFamily="34" charset="0"/>
              </a:defRPr>
            </a:lvl1pPr>
          </a:lstStyle>
          <a:p>
            <a:fld id="{9F9F533D-B52E-4A2F-BF72-0ADD2D94BD75}" type="slidenum">
              <a:rPr lang="en-GB" smtClean="0"/>
              <a:pPr/>
              <a:t>‹#›</a:t>
            </a:fld>
            <a:endParaRPr lang="en-GB" dirty="0"/>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lvl1pPr>
              <a:defRPr>
                <a:latin typeface="Arial" panose="020B0604020202020204" pitchFamily="34" charset="0"/>
                <a:cs typeface="Arial" panose="020B0604020202020204" pitchFamily="34" charset="0"/>
              </a:defRPr>
            </a:lvl1pPr>
          </a:lstStyle>
          <a:p>
            <a:fld id="{346B58B4-0D72-4C8B-9355-854FB5782278}" type="datetime4">
              <a:rPr lang="en-GB" smtClean="0"/>
              <a:pPr/>
              <a:t>21 August 2025</a:t>
            </a:fld>
            <a:endParaRPr lang="en-GB" dirty="0"/>
          </a:p>
        </p:txBody>
      </p:sp>
      <p:sp>
        <p:nvSpPr>
          <p:cNvPr id="8" name="Title">
            <a:extLst>
              <a:ext uri="{FF2B5EF4-FFF2-40B4-BE49-F238E27FC236}">
                <a16:creationId xmlns:a16="http://schemas.microsoft.com/office/drawing/2014/main" id="{3484351E-5906-1465-ED52-DA75D3630DE8}"/>
              </a:ext>
            </a:extLst>
          </p:cNvPr>
          <p:cNvSpPr>
            <a:spLocks noGrp="1"/>
          </p:cNvSpPr>
          <p:nvPr>
            <p:ph type="title" hasCustomPrompt="1"/>
          </p:nvPr>
        </p:nvSpPr>
        <p:spPr>
          <a:xfrm>
            <a:off x="365125" y="242888"/>
            <a:ext cx="11460163" cy="430887"/>
          </a:xfrm>
        </p:spPr>
        <p:txBody>
          <a:bodyPr vert="horz"/>
          <a:lstStyle>
            <a:lvl1pPr>
              <a:defRPr>
                <a:latin typeface="Arial" panose="020B0604020202020204" pitchFamily="34" charset="0"/>
                <a:cs typeface="Arial" panose="020B0604020202020204" pitchFamily="34" charset="0"/>
              </a:defRPr>
            </a:lvl1pPr>
          </a:lstStyle>
          <a:p>
            <a:r>
              <a:rPr lang="en-US" dirty="0"/>
              <a:t>Promotional contribution &amp; model accuracy</a:t>
            </a:r>
          </a:p>
        </p:txBody>
      </p:sp>
      <p:sp>
        <p:nvSpPr>
          <p:cNvPr id="9" name="Subtitle">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Arial" panose="020B0604020202020204" pitchFamily="34" charset="0"/>
              <a:cs typeface="Arial" panose="020B0604020202020204" pitchFamily="34" charset="0"/>
            </a:endParaRPr>
          </a:p>
        </p:txBody>
      </p:sp>
      <p:sp>
        <p:nvSpPr>
          <p:cNvPr id="2" name="Freeform: Shape 1">
            <a:extLst>
              <a:ext uri="{FF2B5EF4-FFF2-40B4-BE49-F238E27FC236}">
                <a16:creationId xmlns:a16="http://schemas.microsoft.com/office/drawing/2014/main" id="{BB627EE7-29BC-7E7B-5DF4-1D96E07AD3F9}"/>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Arial" panose="020B0604020202020204" pitchFamily="34" charset="0"/>
              <a:cs typeface="Arial" panose="020B0604020202020204" pitchFamily="34" charset="0"/>
            </a:endParaRPr>
          </a:p>
        </p:txBody>
      </p:sp>
      <p:sp>
        <p:nvSpPr>
          <p:cNvPr id="10" name="Plot 3">
            <a:extLst>
              <a:ext uri="{FF2B5EF4-FFF2-40B4-BE49-F238E27FC236}">
                <a16:creationId xmlns:a16="http://schemas.microsoft.com/office/drawing/2014/main" id="{E7FB71F7-C458-6271-4659-9B6ACDE19058}"/>
              </a:ext>
            </a:extLst>
          </p:cNvPr>
          <p:cNvSpPr>
            <a:spLocks noGrp="1"/>
          </p:cNvSpPr>
          <p:nvPr>
            <p:ph type="pic" sz="quarter" idx="14"/>
          </p:nvPr>
        </p:nvSpPr>
        <p:spPr>
          <a:xfrm>
            <a:off x="6089800" y="2444691"/>
            <a:ext cx="5249650" cy="2804578"/>
          </a:xfrm>
        </p:spPr>
        <p:txBody>
          <a:bodyPr/>
          <a:lstStyle>
            <a:lvl1pPr marL="0" indent="0">
              <a:buNone/>
              <a:defRPr>
                <a:latin typeface="Arial" panose="020B0604020202020204" pitchFamily="34" charset="0"/>
                <a:cs typeface="Arial" panose="020B0604020202020204" pitchFamily="34" charset="0"/>
              </a:defRPr>
            </a:lvl1pPr>
          </a:lstStyle>
          <a:p>
            <a:endParaRPr lang="en-US"/>
          </a:p>
        </p:txBody>
      </p:sp>
      <p:sp>
        <p:nvSpPr>
          <p:cNvPr id="11" name="Freeform 6">
            <a:extLst>
              <a:ext uri="{FF2B5EF4-FFF2-40B4-BE49-F238E27FC236}">
                <a16:creationId xmlns:a16="http://schemas.microsoft.com/office/drawing/2014/main" id="{6FDDE279-74BB-595A-A5E4-AD31C88507CE}"/>
              </a:ext>
            </a:extLst>
          </p:cNvPr>
          <p:cNvSpPr/>
          <p:nvPr userDrawn="1"/>
        </p:nvSpPr>
        <p:spPr>
          <a:xfrm>
            <a:off x="6089801" y="1854844"/>
            <a:ext cx="2035764" cy="431655"/>
          </a:xfrm>
          <a:custGeom>
            <a:avLst/>
            <a:gdLst>
              <a:gd name="connsiteX0" fmla="*/ 0 w 1784589"/>
              <a:gd name="connsiteY0" fmla="*/ 0 h 692198"/>
              <a:gd name="connsiteX1" fmla="*/ 1784589 w 1784589"/>
              <a:gd name="connsiteY1" fmla="*/ 0 h 692198"/>
              <a:gd name="connsiteX2" fmla="*/ 1784589 w 1784589"/>
              <a:gd name="connsiteY2" fmla="*/ 692198 h 692198"/>
              <a:gd name="connsiteX3" fmla="*/ 0 w 1784589"/>
              <a:gd name="connsiteY3" fmla="*/ 692198 h 692198"/>
              <a:gd name="connsiteX4" fmla="*/ 0 w 1784589"/>
              <a:gd name="connsiteY4" fmla="*/ 0 h 692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4589" h="692198">
                <a:moveTo>
                  <a:pt x="0" y="0"/>
                </a:moveTo>
                <a:lnTo>
                  <a:pt x="1784589" y="0"/>
                </a:lnTo>
                <a:lnTo>
                  <a:pt x="1784589" y="692198"/>
                </a:lnTo>
                <a:lnTo>
                  <a:pt x="0" y="69219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indent="0" algn="r" rtl="0">
              <a:lnSpc>
                <a:spcPct val="100000"/>
              </a:lnSpc>
              <a:spcAft>
                <a:spcPts val="600"/>
              </a:spcAft>
              <a:buFont typeface="Arial" panose="020B0604020202020204" pitchFamily="34" charset="0"/>
              <a:buNone/>
              <a:defRPr sz="1000"/>
            </a:pPr>
            <a:r>
              <a:rPr lang="en-GB" sz="1400" b="0" i="0" u="none" strike="noStrike" baseline="0" dirty="0">
                <a:solidFill>
                  <a:srgbClr val="000000"/>
                </a:solidFill>
                <a:latin typeface="Arial" panose="020B0604020202020204" pitchFamily="34" charset="0"/>
                <a:cs typeface="Arial" panose="020B0604020202020204" pitchFamily="34" charset="0"/>
              </a:rPr>
              <a:t>Adjusted </a:t>
            </a:r>
            <a:br>
              <a:rPr lang="en-GB" sz="1400" b="0" i="0" u="none" strike="noStrike" baseline="0" dirty="0">
                <a:solidFill>
                  <a:srgbClr val="000000"/>
                </a:solidFill>
                <a:latin typeface="Arial" panose="020B0604020202020204" pitchFamily="34" charset="0"/>
                <a:cs typeface="Arial" panose="020B0604020202020204" pitchFamily="34" charset="0"/>
              </a:rPr>
            </a:br>
            <a:r>
              <a:rPr lang="en-GB" sz="1400" b="0" i="0" u="none" strike="noStrike" baseline="0" dirty="0">
                <a:solidFill>
                  <a:srgbClr val="000000"/>
                </a:solidFill>
                <a:latin typeface="Arial" panose="020B0604020202020204" pitchFamily="34" charset="0"/>
                <a:cs typeface="Arial" panose="020B0604020202020204" pitchFamily="34" charset="0"/>
              </a:rPr>
              <a:t>R-squared</a:t>
            </a:r>
          </a:p>
        </p:txBody>
      </p:sp>
      <p:sp>
        <p:nvSpPr>
          <p:cNvPr id="13" name="KPI 3">
            <a:extLst>
              <a:ext uri="{FF2B5EF4-FFF2-40B4-BE49-F238E27FC236}">
                <a16:creationId xmlns:a16="http://schemas.microsoft.com/office/drawing/2014/main" id="{E79373A2-1519-F9E9-8756-93134EF2A632}"/>
              </a:ext>
            </a:extLst>
          </p:cNvPr>
          <p:cNvSpPr>
            <a:spLocks noGrp="1"/>
          </p:cNvSpPr>
          <p:nvPr>
            <p:ph sz="quarter" idx="15" hasCustomPrompt="1"/>
          </p:nvPr>
        </p:nvSpPr>
        <p:spPr>
          <a:xfrm>
            <a:off x="8189172" y="1806903"/>
            <a:ext cx="2083652" cy="527539"/>
          </a:xfrm>
        </p:spPr>
        <p:txBody>
          <a:bodyPr>
            <a:noAutofit/>
          </a:bodyPr>
          <a:lstStyle>
            <a:lvl1pPr marL="0" indent="0" algn="l">
              <a:buNone/>
              <a:defRPr sz="3200" b="0" i="0">
                <a:solidFill>
                  <a:schemeClr val="accent1"/>
                </a:solidFill>
                <a:latin typeface="Arial" panose="020B0604020202020204" pitchFamily="34" charset="0"/>
                <a:cs typeface="Arial" panose="020B0604020202020204" pitchFamily="34" charset="0"/>
              </a:defRPr>
            </a:lvl1pPr>
          </a:lstStyle>
          <a:p>
            <a:r>
              <a:rPr lang="de-DE" dirty="0"/>
              <a:t>XXX</a:t>
            </a:r>
            <a:endParaRPr dirty="0"/>
          </a:p>
        </p:txBody>
      </p:sp>
      <p:sp>
        <p:nvSpPr>
          <p:cNvPr id="14" name="KPI 2">
            <a:extLst>
              <a:ext uri="{FF2B5EF4-FFF2-40B4-BE49-F238E27FC236}">
                <a16:creationId xmlns:a16="http://schemas.microsoft.com/office/drawing/2014/main" id="{6FBB274D-441A-6117-E7CD-AF3FBEB1014A}"/>
              </a:ext>
            </a:extLst>
          </p:cNvPr>
          <p:cNvSpPr>
            <a:spLocks noGrp="1"/>
          </p:cNvSpPr>
          <p:nvPr>
            <p:ph sz="quarter" idx="16" hasCustomPrompt="1"/>
          </p:nvPr>
        </p:nvSpPr>
        <p:spPr>
          <a:xfrm>
            <a:off x="2613513" y="1727391"/>
            <a:ext cx="3362347" cy="527539"/>
          </a:xfrm>
        </p:spPr>
        <p:txBody>
          <a:bodyPr>
            <a:noAutofit/>
          </a:bodyPr>
          <a:lstStyle>
            <a:lvl1pPr marL="0" indent="0" algn="l">
              <a:buNone/>
              <a:defRPr sz="3200" b="0" i="0">
                <a:solidFill>
                  <a:schemeClr val="accent1"/>
                </a:solidFill>
                <a:latin typeface="Arial" panose="020B0604020202020204" pitchFamily="34" charset="0"/>
                <a:cs typeface="Arial" panose="020B0604020202020204" pitchFamily="34" charset="0"/>
              </a:defRPr>
            </a:lvl1pPr>
          </a:lstStyle>
          <a:p>
            <a:r>
              <a:rPr lang="de-DE" dirty="0"/>
              <a:t>XXX</a:t>
            </a:r>
            <a:endParaRPr dirty="0"/>
          </a:p>
        </p:txBody>
      </p:sp>
      <p:sp>
        <p:nvSpPr>
          <p:cNvPr id="17" name="Text 1">
            <a:extLst>
              <a:ext uri="{FF2B5EF4-FFF2-40B4-BE49-F238E27FC236}">
                <a16:creationId xmlns:a16="http://schemas.microsoft.com/office/drawing/2014/main" id="{9DCB2C8E-72AD-6D0C-5E71-F3F2B69CA75D}"/>
              </a:ext>
            </a:extLst>
          </p:cNvPr>
          <p:cNvSpPr>
            <a:spLocks noGrp="1"/>
          </p:cNvSpPr>
          <p:nvPr>
            <p:ph type="body" sz="quarter" idx="17" hasCustomPrompt="1"/>
          </p:nvPr>
        </p:nvSpPr>
        <p:spPr>
          <a:xfrm>
            <a:off x="479395" y="5327986"/>
            <a:ext cx="5015792" cy="899139"/>
          </a:xfrm>
        </p:spPr>
        <p:txBody>
          <a:bodyPr>
            <a:normAutofit/>
          </a:bodyPr>
          <a:lstStyle>
            <a:lvl1pPr marL="0" indent="0" algn="ctr" defTabSz="914400" rtl="0" eaLnBrk="1" latinLnBrk="0" hangingPunct="1">
              <a:lnSpc>
                <a:spcPct val="100000"/>
              </a:lnSpc>
              <a:spcAft>
                <a:spcPts val="600"/>
              </a:spcAft>
              <a:buNone/>
              <a:defRPr lang="en-US" sz="1200" b="0" i="0" u="none" strike="noStrike" kern="1200" baseline="0" dirty="0" smtClean="0">
                <a:solidFill>
                  <a:srgbClr val="000000"/>
                </a:solidFill>
                <a:latin typeface="Arial" panose="020B0604020202020204" pitchFamily="34" charset="0"/>
                <a:ea typeface="+mn-ea"/>
                <a:cs typeface="Arial" panose="020B0604020202020204" pitchFamily="34" charset="0"/>
              </a:defRPr>
            </a:lvl1pPr>
            <a:lvl2pPr marL="0" algn="ctr" defTabSz="914400" rtl="0" eaLnBrk="1" latinLnBrk="0" hangingPunct="1">
              <a:lnSpc>
                <a:spcPct val="100000"/>
              </a:lnSpc>
              <a:spcAft>
                <a:spcPts val="600"/>
              </a:spcAft>
              <a:defRPr lang="en-US" sz="1600" b="0" i="0" u="none" strike="noStrike" kern="1200" baseline="0" dirty="0" smtClean="0">
                <a:solidFill>
                  <a:srgbClr val="000000"/>
                </a:solidFill>
                <a:latin typeface="Avenir Book" panose="02000503020000020003" pitchFamily="2" charset="0"/>
                <a:ea typeface="+mn-ea"/>
                <a:cs typeface="+mn-cs"/>
              </a:defRPr>
            </a:lvl2pPr>
            <a:lvl3pPr marL="0" algn="ctr" defTabSz="914400" rtl="0" eaLnBrk="1" latinLnBrk="0" hangingPunct="1">
              <a:lnSpc>
                <a:spcPct val="100000"/>
              </a:lnSpc>
              <a:spcAft>
                <a:spcPts val="600"/>
              </a:spcAft>
              <a:defRPr lang="en-US" sz="1600" b="0" i="0" u="none" strike="noStrike" kern="1200" baseline="0" dirty="0" smtClean="0">
                <a:solidFill>
                  <a:srgbClr val="000000"/>
                </a:solidFill>
                <a:latin typeface="Avenir Book" panose="02000503020000020003" pitchFamily="2" charset="0"/>
                <a:ea typeface="+mn-ea"/>
                <a:cs typeface="+mn-cs"/>
              </a:defRPr>
            </a:lvl3pPr>
            <a:lvl4pPr marL="0" algn="ctr" defTabSz="914400" rtl="0" eaLnBrk="1" latinLnBrk="0" hangingPunct="1">
              <a:lnSpc>
                <a:spcPct val="100000"/>
              </a:lnSpc>
              <a:spcAft>
                <a:spcPts val="600"/>
              </a:spcAft>
              <a:defRPr lang="en-US" sz="1600" b="0" i="0" u="none" strike="noStrike" kern="1200" baseline="0" dirty="0" smtClean="0">
                <a:solidFill>
                  <a:srgbClr val="000000"/>
                </a:solidFill>
                <a:latin typeface="Avenir Book" panose="02000503020000020003" pitchFamily="2" charset="0"/>
                <a:ea typeface="+mn-ea"/>
                <a:cs typeface="+mn-cs"/>
              </a:defRPr>
            </a:lvl4pPr>
          </a:lstStyle>
          <a:p>
            <a:pPr lvl="0"/>
            <a:r>
              <a:rPr lang="en-US" dirty="0"/>
              <a:t>XXX</a:t>
            </a:r>
          </a:p>
        </p:txBody>
      </p:sp>
      <p:sp>
        <p:nvSpPr>
          <p:cNvPr id="18" name="Plot 1">
            <a:extLst>
              <a:ext uri="{FF2B5EF4-FFF2-40B4-BE49-F238E27FC236}">
                <a16:creationId xmlns:a16="http://schemas.microsoft.com/office/drawing/2014/main" id="{44147D5A-077C-A883-4DBE-42E95A5FBB7D}"/>
              </a:ext>
            </a:extLst>
          </p:cNvPr>
          <p:cNvSpPr>
            <a:spLocks noGrp="1"/>
          </p:cNvSpPr>
          <p:nvPr>
            <p:ph type="pic" sz="quarter" idx="18"/>
          </p:nvPr>
        </p:nvSpPr>
        <p:spPr>
          <a:xfrm>
            <a:off x="365125" y="2444686"/>
            <a:ext cx="5249650" cy="2804583"/>
          </a:xfrm>
        </p:spPr>
        <p:txBody>
          <a:bodyPr/>
          <a:lstStyle>
            <a:lvl1pPr marL="0" indent="0">
              <a:buNone/>
              <a:defRPr>
                <a:latin typeface="Arial" panose="020B0604020202020204" pitchFamily="34" charset="0"/>
                <a:cs typeface="Arial" panose="020B0604020202020204" pitchFamily="34" charset="0"/>
              </a:defRPr>
            </a:lvl1pPr>
          </a:lstStyle>
          <a:p>
            <a:endParaRPr lang="en-US"/>
          </a:p>
        </p:txBody>
      </p:sp>
      <p:sp>
        <p:nvSpPr>
          <p:cNvPr id="19" name="KPI name">
            <a:extLst>
              <a:ext uri="{FF2B5EF4-FFF2-40B4-BE49-F238E27FC236}">
                <a16:creationId xmlns:a16="http://schemas.microsoft.com/office/drawing/2014/main" id="{27565D8F-1E75-5025-E7B9-71D696E1D6C6}"/>
              </a:ext>
            </a:extLst>
          </p:cNvPr>
          <p:cNvSpPr>
            <a:spLocks noGrp="1"/>
          </p:cNvSpPr>
          <p:nvPr>
            <p:ph type="body" sz="quarter" idx="19" hasCustomPrompt="1"/>
          </p:nvPr>
        </p:nvSpPr>
        <p:spPr>
          <a:xfrm>
            <a:off x="803045" y="1936506"/>
            <a:ext cx="1785632" cy="316944"/>
          </a:xfr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lvl1pPr marL="0" indent="0" algn="r">
              <a:buNone/>
              <a:defRPr lang="en-US" sz="1600" b="0" i="0" u="none" strike="noStrike" baseline="0" smtClean="0">
                <a:solidFill>
                  <a:srgbClr val="000000"/>
                </a:solidFill>
                <a:latin typeface="Arial" panose="020B0604020202020204" pitchFamily="34" charset="0"/>
                <a:cs typeface="Arial" panose="020B0604020202020204" pitchFamily="34" charset="0"/>
              </a:defRPr>
            </a:lvl1pPr>
            <a:lvl2pPr>
              <a:defRPr lang="en-US" smtClean="0">
                <a:solidFill>
                  <a:schemeClr val="tx1">
                    <a:hueOff val="0"/>
                    <a:satOff val="0"/>
                    <a:lumOff val="0"/>
                    <a:alphaOff val="0"/>
                  </a:schemeClr>
                </a:solidFill>
                <a:latin typeface="+mn-lt"/>
              </a:defRPr>
            </a:lvl2pPr>
            <a:lvl3pPr>
              <a:defRPr lang="en-US" sz="1800" smtClean="0">
                <a:solidFill>
                  <a:schemeClr val="tx1">
                    <a:hueOff val="0"/>
                    <a:satOff val="0"/>
                    <a:lumOff val="0"/>
                    <a:alphaOff val="0"/>
                  </a:schemeClr>
                </a:solidFill>
                <a:latin typeface="+mn-lt"/>
              </a:defRPr>
            </a:lvl3pPr>
            <a:lvl4pPr>
              <a:defRPr lang="en-US" sz="1800" smtClean="0">
                <a:solidFill>
                  <a:schemeClr val="tx1">
                    <a:hueOff val="0"/>
                    <a:satOff val="0"/>
                    <a:lumOff val="0"/>
                    <a:alphaOff val="0"/>
                  </a:schemeClr>
                </a:solidFill>
                <a:latin typeface="+mn-lt"/>
              </a:defRPr>
            </a:lvl4pPr>
            <a:lvl5pPr>
              <a:defRPr lang="en-US" sz="1800">
                <a:solidFill>
                  <a:schemeClr val="tx1">
                    <a:hueOff val="0"/>
                    <a:satOff val="0"/>
                    <a:lumOff val="0"/>
                    <a:alphaOff val="0"/>
                  </a:schemeClr>
                </a:solidFill>
                <a:latin typeface="+mn-lt"/>
              </a:defRPr>
            </a:lvl5pPr>
          </a:lstStyle>
          <a:p>
            <a:pPr lvl="0" algn="ctr">
              <a:lnSpc>
                <a:spcPct val="100000"/>
              </a:lnSpc>
              <a:spcAft>
                <a:spcPts val="600"/>
              </a:spcAft>
            </a:pPr>
            <a:r>
              <a:rPr lang="en-US" dirty="0"/>
              <a:t>KPI</a:t>
            </a:r>
          </a:p>
        </p:txBody>
      </p:sp>
      <p:sp>
        <p:nvSpPr>
          <p:cNvPr id="16" name="Text 2">
            <a:extLst>
              <a:ext uri="{FF2B5EF4-FFF2-40B4-BE49-F238E27FC236}">
                <a16:creationId xmlns:a16="http://schemas.microsoft.com/office/drawing/2014/main" id="{D56A1FA5-921D-8299-14A6-613F556A5E24}"/>
              </a:ext>
            </a:extLst>
          </p:cNvPr>
          <p:cNvSpPr>
            <a:spLocks noGrp="1"/>
          </p:cNvSpPr>
          <p:nvPr>
            <p:ph type="body" sz="quarter" idx="21" hasCustomPrompt="1"/>
          </p:nvPr>
        </p:nvSpPr>
        <p:spPr>
          <a:xfrm>
            <a:off x="6490383" y="5327986"/>
            <a:ext cx="4622165" cy="899139"/>
          </a:xfrm>
        </p:spPr>
        <p:txBody>
          <a:bodyPr>
            <a:normAutofit/>
          </a:bodyPr>
          <a:lstStyle>
            <a:lvl1pPr marL="0" indent="0" algn="ctr" defTabSz="914400" rtl="0" eaLnBrk="1" latinLnBrk="0" hangingPunct="1">
              <a:lnSpc>
                <a:spcPct val="100000"/>
              </a:lnSpc>
              <a:spcAft>
                <a:spcPts val="600"/>
              </a:spcAft>
              <a:buNone/>
              <a:defRPr lang="en-US" sz="1200" b="0" i="0" u="none" strike="noStrike" kern="1200" baseline="0" dirty="0" smtClean="0">
                <a:solidFill>
                  <a:srgbClr val="000000"/>
                </a:solidFill>
                <a:latin typeface="Arial" panose="020B0604020202020204" pitchFamily="34" charset="0"/>
                <a:ea typeface="+mn-ea"/>
                <a:cs typeface="Arial" panose="020B0604020202020204" pitchFamily="34" charset="0"/>
              </a:defRPr>
            </a:lvl1pPr>
            <a:lvl2pPr marL="0" algn="ctr" defTabSz="914400" rtl="0" eaLnBrk="1" latinLnBrk="0" hangingPunct="1">
              <a:lnSpc>
                <a:spcPct val="100000"/>
              </a:lnSpc>
              <a:spcAft>
                <a:spcPts val="600"/>
              </a:spcAft>
              <a:defRPr lang="en-US" sz="1600" b="0" i="0" u="none" strike="noStrike" kern="1200" baseline="0" dirty="0" smtClean="0">
                <a:solidFill>
                  <a:srgbClr val="000000"/>
                </a:solidFill>
                <a:latin typeface="Avenir Book" panose="02000503020000020003" pitchFamily="2" charset="0"/>
                <a:ea typeface="+mn-ea"/>
                <a:cs typeface="+mn-cs"/>
              </a:defRPr>
            </a:lvl2pPr>
            <a:lvl3pPr marL="0" algn="ctr" defTabSz="914400" rtl="0" eaLnBrk="1" latinLnBrk="0" hangingPunct="1">
              <a:lnSpc>
                <a:spcPct val="100000"/>
              </a:lnSpc>
              <a:spcAft>
                <a:spcPts val="600"/>
              </a:spcAft>
              <a:defRPr lang="en-US" sz="1600" b="0" i="0" u="none" strike="noStrike" kern="1200" baseline="0" dirty="0" smtClean="0">
                <a:solidFill>
                  <a:srgbClr val="000000"/>
                </a:solidFill>
                <a:latin typeface="Avenir Book" panose="02000503020000020003" pitchFamily="2" charset="0"/>
                <a:ea typeface="+mn-ea"/>
                <a:cs typeface="+mn-cs"/>
              </a:defRPr>
            </a:lvl3pPr>
            <a:lvl4pPr marL="0" algn="ctr" defTabSz="914400" rtl="0" eaLnBrk="1" latinLnBrk="0" hangingPunct="1">
              <a:lnSpc>
                <a:spcPct val="100000"/>
              </a:lnSpc>
              <a:spcAft>
                <a:spcPts val="600"/>
              </a:spcAft>
              <a:defRPr lang="en-US" sz="1600" b="0" i="0" u="none" strike="noStrike" kern="1200" baseline="0" dirty="0" smtClean="0">
                <a:solidFill>
                  <a:srgbClr val="000000"/>
                </a:solidFill>
                <a:latin typeface="Avenir Book" panose="02000503020000020003" pitchFamily="2" charset="0"/>
                <a:ea typeface="+mn-ea"/>
                <a:cs typeface="+mn-cs"/>
              </a:defRPr>
            </a:lvl4pPr>
          </a:lstStyle>
          <a:p>
            <a:pPr lvl="0"/>
            <a:r>
              <a:rPr lang="en-US" dirty="0"/>
              <a:t>XXX</a:t>
            </a:r>
          </a:p>
        </p:txBody>
      </p:sp>
      <p:sp>
        <p:nvSpPr>
          <p:cNvPr id="27" name="KPI 1 Title">
            <a:extLst>
              <a:ext uri="{FF2B5EF4-FFF2-40B4-BE49-F238E27FC236}">
                <a16:creationId xmlns:a16="http://schemas.microsoft.com/office/drawing/2014/main" id="{4134C1F1-A8E1-0784-8993-AB91C7A52EF0}"/>
              </a:ext>
            </a:extLst>
          </p:cNvPr>
          <p:cNvSpPr>
            <a:spLocks noGrp="1"/>
          </p:cNvSpPr>
          <p:nvPr>
            <p:ph type="body" sz="quarter" idx="20" hasCustomPrompt="1"/>
          </p:nvPr>
        </p:nvSpPr>
        <p:spPr>
          <a:xfrm>
            <a:off x="846388" y="1309725"/>
            <a:ext cx="4622165" cy="363321"/>
          </a:xfr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lvl1pPr marL="0" indent="0" algn="ctr">
              <a:buNone/>
              <a:defRPr lang="en-US" sz="2000" b="1" kern="0" dirty="0">
                <a:solidFill>
                  <a:schemeClr val="bg1"/>
                </a:solidFill>
                <a:latin typeface="Arial" panose="020B0604020202020204" pitchFamily="34" charset="0"/>
                <a:ea typeface="+mn-ea"/>
                <a:cs typeface="Arial" panose="020B0604020202020204" pitchFamily="34" charset="0"/>
              </a:defRPr>
            </a:lvl1pPr>
            <a:lvl2pPr>
              <a:defRPr lang="en-US" smtClean="0">
                <a:solidFill>
                  <a:schemeClr val="tx1">
                    <a:hueOff val="0"/>
                    <a:satOff val="0"/>
                    <a:lumOff val="0"/>
                    <a:alphaOff val="0"/>
                  </a:schemeClr>
                </a:solidFill>
                <a:latin typeface="+mn-lt"/>
              </a:defRPr>
            </a:lvl2pPr>
            <a:lvl3pPr>
              <a:defRPr lang="en-US" sz="1800" smtClean="0">
                <a:solidFill>
                  <a:schemeClr val="tx1">
                    <a:hueOff val="0"/>
                    <a:satOff val="0"/>
                    <a:lumOff val="0"/>
                    <a:alphaOff val="0"/>
                  </a:schemeClr>
                </a:solidFill>
                <a:latin typeface="+mn-lt"/>
              </a:defRPr>
            </a:lvl3pPr>
            <a:lvl4pPr>
              <a:defRPr lang="en-US" sz="1800" smtClean="0">
                <a:solidFill>
                  <a:schemeClr val="tx1">
                    <a:hueOff val="0"/>
                    <a:satOff val="0"/>
                    <a:lumOff val="0"/>
                    <a:alphaOff val="0"/>
                  </a:schemeClr>
                </a:solidFill>
                <a:latin typeface="+mn-lt"/>
              </a:defRPr>
            </a:lvl4pPr>
            <a:lvl5pPr>
              <a:defRPr lang="en-US" sz="1800">
                <a:solidFill>
                  <a:schemeClr val="tx1">
                    <a:hueOff val="0"/>
                    <a:satOff val="0"/>
                    <a:lumOff val="0"/>
                    <a:alphaOff val="0"/>
                  </a:schemeClr>
                </a:solidFill>
                <a:latin typeface="+mn-lt"/>
              </a:defRPr>
            </a:lvl5pPr>
          </a:lstStyle>
          <a:p>
            <a:pPr lvl="0" algn="ctr">
              <a:lnSpc>
                <a:spcPct val="100000"/>
              </a:lnSpc>
              <a:spcAft>
                <a:spcPts val="600"/>
              </a:spcAft>
            </a:pPr>
            <a:r>
              <a:rPr lang="en-US" dirty="0"/>
              <a:t>xxx</a:t>
            </a:r>
          </a:p>
        </p:txBody>
      </p:sp>
    </p:spTree>
    <p:custDataLst>
      <p:tags r:id="rId1"/>
    </p:custDataLst>
    <p:extLst>
      <p:ext uri="{BB962C8B-B14F-4D97-AF65-F5344CB8AC3E}">
        <p14:creationId xmlns:p14="http://schemas.microsoft.com/office/powerpoint/2010/main" val="4135425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eneric">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21CDEB8-E44B-BE7A-700F-DD2933667B60}"/>
              </a:ext>
            </a:extLst>
          </p:cNvPr>
          <p:cNvGraphicFramePr>
            <a:graphicFrameLocks noChangeAspect="1"/>
          </p:cNvGraphicFramePr>
          <p:nvPr userDrawn="1">
            <p:custDataLst>
              <p:tags r:id="rId2"/>
            </p:custDataLst>
            <p:extLst>
              <p:ext uri="{D42A27DB-BD31-4B8C-83A1-F6EECF244321}">
                <p14:modId xmlns:p14="http://schemas.microsoft.com/office/powerpoint/2010/main" val="367087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4" imgH="425" progId="TCLayout.ActiveDocument.1">
                  <p:embed/>
                </p:oleObj>
              </mc:Choice>
              <mc:Fallback>
                <p:oleObj name="think-cell Slide" r:id="rId4" imgW="424" imgH="425" progId="TCLayout.ActiveDocument.1">
                  <p:embed/>
                  <p:pic>
                    <p:nvPicPr>
                      <p:cNvPr id="8" name="think-cell data - do not delete" hidden="1">
                        <a:extLst>
                          <a:ext uri="{FF2B5EF4-FFF2-40B4-BE49-F238E27FC236}">
                            <a16:creationId xmlns:a16="http://schemas.microsoft.com/office/drawing/2014/main" id="{B21CDEB8-E44B-BE7A-700F-DD2933667B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p:txBody>
          <a:bodyPr/>
          <a:lstStyle>
            <a:lvl1pPr>
              <a:defRPr>
                <a:latin typeface="Arial" panose="020B0604020202020204" pitchFamily="34" charset="0"/>
                <a:cs typeface="Arial" panose="020B0604020202020204" pitchFamily="34" charset="0"/>
              </a:defRPr>
            </a:lvl1pPr>
          </a:lstStyle>
          <a:p>
            <a:fld id="{397F4CD0-83C1-4C99-A2BD-6DA4A1CC9D00}" type="datetime4">
              <a:rPr lang="en-GB" smtClean="0"/>
              <a:pPr/>
              <a:t>21 August 2025</a:t>
            </a:fld>
            <a:endParaRPr lang="en-GB" dirty="0"/>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p:txBody>
          <a:bodyPr/>
          <a:lstStyle>
            <a:lvl1pPr>
              <a:defRPr>
                <a:latin typeface="Arial" panose="020B0604020202020204" pitchFamily="34" charset="0"/>
                <a:cs typeface="Arial" panose="020B0604020202020204" pitchFamily="34" charset="0"/>
              </a:defRPr>
            </a:lvl1pPr>
          </a:lstStyle>
          <a:p>
            <a:endParaRPr lang="en-GB" dirty="0"/>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lvl1pPr>
              <a:defRPr>
                <a:latin typeface="Arial" panose="020B0604020202020204" pitchFamily="34" charset="0"/>
                <a:cs typeface="Arial" panose="020B0604020202020204" pitchFamily="34" charset="0"/>
              </a:defRPr>
            </a:lvl1pPr>
          </a:lstStyle>
          <a:p>
            <a:fld id="{9F9F533D-B52E-4A2F-BF72-0ADD2D94BD75}" type="slidenum">
              <a:rPr lang="en-GB" smtClean="0"/>
              <a:pPr/>
              <a:t>‹#›</a:t>
            </a:fld>
            <a:endParaRPr lang="en-GB" dirty="0"/>
          </a:p>
        </p:txBody>
      </p:sp>
      <p:sp>
        <p:nvSpPr>
          <p:cNvPr id="9" name="Title">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vert="horz"/>
          <a:lstStyle>
            <a:lvl1pPr>
              <a:defRPr>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Subtitle">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Arial" panose="020B0604020202020204" pitchFamily="34" charset="0"/>
              <a:cs typeface="Arial" panose="020B0604020202020204" pitchFamily="34" charset="0"/>
            </a:endParaRPr>
          </a:p>
        </p:txBody>
      </p:sp>
      <p:sp>
        <p:nvSpPr>
          <p:cNvPr id="5" name="Freeform: Shape 4">
            <a:extLst>
              <a:ext uri="{FF2B5EF4-FFF2-40B4-BE49-F238E27FC236}">
                <a16:creationId xmlns:a16="http://schemas.microsoft.com/office/drawing/2014/main" id="{2CA69924-8312-93A7-5F21-75AD30BAD2D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Arial" panose="020B0604020202020204" pitchFamily="34" charset="0"/>
              <a:cs typeface="Arial" panose="020B0604020202020204" pitchFamily="34" charset="0"/>
            </a:endParaRPr>
          </a:p>
        </p:txBody>
      </p:sp>
      <p:sp>
        <p:nvSpPr>
          <p:cNvPr id="11" name="Plot">
            <a:extLst>
              <a:ext uri="{FF2B5EF4-FFF2-40B4-BE49-F238E27FC236}">
                <a16:creationId xmlns:a16="http://schemas.microsoft.com/office/drawing/2014/main" id="{0222423B-5423-CFD3-AB33-EAB059EC2845}"/>
              </a:ext>
            </a:extLst>
          </p:cNvPr>
          <p:cNvSpPr>
            <a:spLocks noGrp="1"/>
          </p:cNvSpPr>
          <p:nvPr>
            <p:ph type="pic" sz="quarter" idx="14"/>
          </p:nvPr>
        </p:nvSpPr>
        <p:spPr>
          <a:xfrm>
            <a:off x="365125" y="1152525"/>
            <a:ext cx="11460163" cy="5121054"/>
          </a:xfrm>
        </p:spPr>
        <p:txBody>
          <a:bodyPr/>
          <a:lstStyle>
            <a:lvl1pPr>
              <a:defRPr>
                <a:latin typeface="Arial" panose="020B0604020202020204" pitchFamily="34" charset="0"/>
                <a:cs typeface="Arial" panose="020B0604020202020204" pitchFamily="34" charset="0"/>
              </a:defRPr>
            </a:lvl1pPr>
          </a:lstStyle>
          <a:p>
            <a:endParaRPr lang="en-US" dirty="0"/>
          </a:p>
        </p:txBody>
      </p:sp>
    </p:spTree>
    <p:custDataLst>
      <p:tags r:id="rId1"/>
    </p:custDataLst>
    <p:extLst>
      <p:ext uri="{BB962C8B-B14F-4D97-AF65-F5344CB8AC3E}">
        <p14:creationId xmlns:p14="http://schemas.microsoft.com/office/powerpoint/2010/main" val="3296186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llocator">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0D8C276-70E3-1124-D032-556F8DD36059}"/>
              </a:ext>
            </a:extLst>
          </p:cNvPr>
          <p:cNvGraphicFramePr>
            <a:graphicFrameLocks noChangeAspect="1"/>
          </p:cNvGraphicFramePr>
          <p:nvPr userDrawn="1">
            <p:custDataLst>
              <p:tags r:id="rId2"/>
            </p:custDataLst>
            <p:extLst>
              <p:ext uri="{D42A27DB-BD31-4B8C-83A1-F6EECF244321}">
                <p14:modId xmlns:p14="http://schemas.microsoft.com/office/powerpoint/2010/main" val="3260215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4" imgH="425" progId="TCLayout.ActiveDocument.1">
                  <p:embed/>
                </p:oleObj>
              </mc:Choice>
              <mc:Fallback>
                <p:oleObj name="think-cell Slide" r:id="rId4" imgW="424" imgH="425" progId="TCLayout.ActiveDocument.1">
                  <p:embed/>
                  <p:pic>
                    <p:nvPicPr>
                      <p:cNvPr id="24" name="think-cell data - do not delete" hidden="1">
                        <a:extLst>
                          <a:ext uri="{FF2B5EF4-FFF2-40B4-BE49-F238E27FC236}">
                            <a16:creationId xmlns:a16="http://schemas.microsoft.com/office/drawing/2014/main" id="{00D8C276-70E3-1124-D032-556F8DD360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2D051CDD-DE24-0521-89AB-18A378F02770}"/>
              </a:ext>
            </a:extLst>
          </p:cNvPr>
          <p:cNvSpPr/>
          <p:nvPr userDrawn="1"/>
        </p:nvSpPr>
        <p:spPr>
          <a:xfrm>
            <a:off x="4182333" y="1818174"/>
            <a:ext cx="7654846" cy="58748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1"/>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C6260EC1-6F67-25A7-A8CD-C4504B926D94}"/>
              </a:ext>
            </a:extLst>
          </p:cNvPr>
          <p:cNvSpPr/>
          <p:nvPr userDrawn="1"/>
        </p:nvSpPr>
        <p:spPr>
          <a:xfrm>
            <a:off x="365125" y="1818174"/>
            <a:ext cx="3649470" cy="58748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998A1D13-ABD1-479D-7286-78DE8E867C09}"/>
              </a:ext>
            </a:extLst>
          </p:cNvPr>
          <p:cNvSpPr/>
          <p:nvPr userDrawn="1"/>
        </p:nvSpPr>
        <p:spPr>
          <a:xfrm>
            <a:off x="365125" y="1333247"/>
            <a:ext cx="3649471" cy="380454"/>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45714" tIns="45714" rIns="45714" bIns="45714" numCol="1" rtlCol="0" anchor="ctr" anchorCtr="0" compatLnSpc="1">
            <a:prstTxWarp prst="textNoShape">
              <a:avLst/>
            </a:prstTxWarp>
          </a:bodyPr>
          <a:lstStyle/>
          <a:p>
            <a:pPr algn="ctr" fontAlgn="base">
              <a:spcBef>
                <a:spcPct val="0"/>
              </a:spcBef>
              <a:spcAft>
                <a:spcPct val="0"/>
              </a:spcAft>
            </a:pPr>
            <a:r>
              <a:rPr lang="en-US" sz="2000" b="1" kern="0" dirty="0">
                <a:solidFill>
                  <a:schemeClr val="bg1"/>
                </a:solidFill>
                <a:latin typeface="Arial" panose="020B0604020202020204" pitchFamily="34" charset="0"/>
                <a:cs typeface="Arial" panose="020B0604020202020204" pitchFamily="34" charset="0"/>
              </a:rPr>
              <a:t>Summary</a:t>
            </a:r>
          </a:p>
        </p:txBody>
      </p:sp>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lvl1pPr>
              <a:defRPr>
                <a:latin typeface="Arial" panose="020B0604020202020204" pitchFamily="34" charset="0"/>
                <a:cs typeface="Arial" panose="020B0604020202020204" pitchFamily="34" charset="0"/>
              </a:defRPr>
            </a:lvl1pPr>
          </a:lstStyle>
          <a:p>
            <a:endParaRPr lang="en-GB" dirty="0"/>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lvl1pPr>
              <a:defRPr>
                <a:latin typeface="Arial" panose="020B0604020202020204" pitchFamily="34" charset="0"/>
                <a:cs typeface="Arial" panose="020B0604020202020204" pitchFamily="34" charset="0"/>
              </a:defRPr>
            </a:lvl1pPr>
          </a:lstStyle>
          <a:p>
            <a:fld id="{9F9F533D-B52E-4A2F-BF72-0ADD2D94BD75}" type="slidenum">
              <a:rPr lang="en-GB" smtClean="0"/>
              <a:pPr/>
              <a:t>‹#›</a:t>
            </a:fld>
            <a:endParaRPr lang="en-GB" dirty="0"/>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lvl1pPr>
              <a:defRPr>
                <a:latin typeface="Arial" panose="020B0604020202020204" pitchFamily="34" charset="0"/>
                <a:cs typeface="Arial" panose="020B0604020202020204" pitchFamily="34" charset="0"/>
              </a:defRPr>
            </a:lvl1pPr>
          </a:lstStyle>
          <a:p>
            <a:fld id="{346B58B4-0D72-4C8B-9355-854FB5782278}" type="datetime4">
              <a:rPr lang="en-GB" smtClean="0"/>
              <a:pPr/>
              <a:t>21 August 2025</a:t>
            </a:fld>
            <a:endParaRPr lang="en-GB" dirty="0"/>
          </a:p>
        </p:txBody>
      </p:sp>
      <p:sp>
        <p:nvSpPr>
          <p:cNvPr id="8" name="Title">
            <a:extLst>
              <a:ext uri="{FF2B5EF4-FFF2-40B4-BE49-F238E27FC236}">
                <a16:creationId xmlns:a16="http://schemas.microsoft.com/office/drawing/2014/main" id="{3484351E-5906-1465-ED52-DA75D3630DE8}"/>
              </a:ext>
            </a:extLst>
          </p:cNvPr>
          <p:cNvSpPr>
            <a:spLocks noGrp="1"/>
          </p:cNvSpPr>
          <p:nvPr>
            <p:ph type="title"/>
          </p:nvPr>
        </p:nvSpPr>
        <p:spPr>
          <a:xfrm>
            <a:off x="365125" y="242888"/>
            <a:ext cx="11460163" cy="430887"/>
          </a:xfrm>
        </p:spPr>
        <p:txBody>
          <a:bodyPr vert="horz"/>
          <a:lstStyle>
            <a:lvl1pPr>
              <a:defRPr>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Subtitle">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Arial" panose="020B0604020202020204" pitchFamily="34" charset="0"/>
              <a:cs typeface="Arial" panose="020B0604020202020204" pitchFamily="34" charset="0"/>
            </a:endParaRPr>
          </a:p>
        </p:txBody>
      </p:sp>
      <p:sp>
        <p:nvSpPr>
          <p:cNvPr id="2" name="Freeform: Shape 1">
            <a:extLst>
              <a:ext uri="{FF2B5EF4-FFF2-40B4-BE49-F238E27FC236}">
                <a16:creationId xmlns:a16="http://schemas.microsoft.com/office/drawing/2014/main" id="{BB627EE7-29BC-7E7B-5DF4-1D96E07AD3F9}"/>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B750D162-A6FC-3A58-A9E6-924DBFC23D84}"/>
              </a:ext>
            </a:extLst>
          </p:cNvPr>
          <p:cNvSpPr/>
          <p:nvPr userDrawn="1"/>
        </p:nvSpPr>
        <p:spPr>
          <a:xfrm>
            <a:off x="4187316" y="1337518"/>
            <a:ext cx="7637972" cy="380454"/>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45714" tIns="45714" rIns="45714" bIns="45714" numCol="1" rtlCol="0" anchor="ctr" anchorCtr="0" compatLnSpc="1">
            <a:prstTxWarp prst="textNoShape">
              <a:avLst/>
            </a:prstTxWarp>
          </a:bodyPr>
          <a:lstStyle/>
          <a:p>
            <a:pPr algn="ctr" fontAlgn="base">
              <a:spcBef>
                <a:spcPct val="0"/>
              </a:spcBef>
              <a:spcAft>
                <a:spcPct val="0"/>
              </a:spcAft>
            </a:pPr>
            <a:r>
              <a:rPr lang="en-US" sz="2000" b="1" kern="0" dirty="0">
                <a:solidFill>
                  <a:schemeClr val="bg1"/>
                </a:solidFill>
                <a:latin typeface="Arial" panose="020B0604020202020204" pitchFamily="34" charset="0"/>
                <a:cs typeface="Arial" panose="020B0604020202020204" pitchFamily="34" charset="0"/>
              </a:rPr>
              <a:t>Budget Reallocation per Paid Channel</a:t>
            </a:r>
          </a:p>
        </p:txBody>
      </p:sp>
      <p:sp>
        <p:nvSpPr>
          <p:cNvPr id="26" name="Text 1">
            <a:extLst>
              <a:ext uri="{FF2B5EF4-FFF2-40B4-BE49-F238E27FC236}">
                <a16:creationId xmlns:a16="http://schemas.microsoft.com/office/drawing/2014/main" id="{E2E17E86-B3B7-C272-ECB4-3A24156E5F42}"/>
              </a:ext>
            </a:extLst>
          </p:cNvPr>
          <p:cNvSpPr>
            <a:spLocks noGrp="1"/>
          </p:cNvSpPr>
          <p:nvPr>
            <p:ph type="body" sz="quarter" idx="21" hasCustomPrompt="1"/>
          </p:nvPr>
        </p:nvSpPr>
        <p:spPr>
          <a:xfrm>
            <a:off x="365125" y="1805310"/>
            <a:ext cx="3649470" cy="587375"/>
          </a:xfrm>
        </p:spPr>
        <p:txBody>
          <a:bodyPr anchor="ctr"/>
          <a:lstStyle>
            <a:lvl1pPr marL="0" indent="0" algn="ctr">
              <a:buNone/>
              <a:defRPr lang="en-US" sz="1000" b="0" kern="1200" smtClean="0">
                <a:solidFill>
                  <a:schemeClr val="tx1"/>
                </a:solidFill>
                <a:latin typeface="Arial" panose="020B0604020202020204" pitchFamily="34" charset="0"/>
                <a:ea typeface="+mn-ea"/>
                <a:cs typeface="Arial" panose="020B0604020202020204" pitchFamily="34" charset="0"/>
              </a:defRPr>
            </a:lvl1pPr>
          </a:lstStyle>
          <a:p>
            <a:pPr lvl="0"/>
            <a:r>
              <a:rPr lang="en-US" dirty="0"/>
              <a:t>XXX</a:t>
            </a:r>
          </a:p>
        </p:txBody>
      </p:sp>
      <p:sp>
        <p:nvSpPr>
          <p:cNvPr id="27" name="Plot 1">
            <a:extLst>
              <a:ext uri="{FF2B5EF4-FFF2-40B4-BE49-F238E27FC236}">
                <a16:creationId xmlns:a16="http://schemas.microsoft.com/office/drawing/2014/main" id="{734F2334-F84A-022B-0006-58C620A695AD}"/>
              </a:ext>
            </a:extLst>
          </p:cNvPr>
          <p:cNvSpPr>
            <a:spLocks noGrp="1"/>
          </p:cNvSpPr>
          <p:nvPr>
            <p:ph type="pic" sz="quarter" idx="22"/>
          </p:nvPr>
        </p:nvSpPr>
        <p:spPr>
          <a:xfrm>
            <a:off x="368491" y="2496710"/>
            <a:ext cx="3649472" cy="3666339"/>
          </a:xfrm>
        </p:spPr>
        <p:txBody>
          <a:bodyPr/>
          <a:lstStyle>
            <a:lvl1pPr marL="0" indent="0">
              <a:buNone/>
              <a:defRPr>
                <a:latin typeface="Arial" panose="020B0604020202020204" pitchFamily="34" charset="0"/>
                <a:cs typeface="Arial" panose="020B0604020202020204" pitchFamily="34" charset="0"/>
              </a:defRPr>
            </a:lvl1pPr>
          </a:lstStyle>
          <a:p>
            <a:endParaRPr lang="en-US"/>
          </a:p>
        </p:txBody>
      </p:sp>
      <p:sp>
        <p:nvSpPr>
          <p:cNvPr id="28" name="Plot 2">
            <a:extLst>
              <a:ext uri="{FF2B5EF4-FFF2-40B4-BE49-F238E27FC236}">
                <a16:creationId xmlns:a16="http://schemas.microsoft.com/office/drawing/2014/main" id="{516A31DE-D6C8-D18A-9F52-FE697323DD91}"/>
              </a:ext>
            </a:extLst>
          </p:cNvPr>
          <p:cNvSpPr>
            <a:spLocks noGrp="1"/>
          </p:cNvSpPr>
          <p:nvPr>
            <p:ph type="pic" sz="quarter" idx="15"/>
          </p:nvPr>
        </p:nvSpPr>
        <p:spPr>
          <a:xfrm>
            <a:off x="4199207" y="2496710"/>
            <a:ext cx="7654846" cy="3666339"/>
          </a:xfrm>
        </p:spPr>
        <p:txBody>
          <a:bodyPr/>
          <a:lstStyle>
            <a:lvl1pPr marL="0" indent="0">
              <a:buNone/>
              <a:defRPr>
                <a:latin typeface="Arial" panose="020B0604020202020204" pitchFamily="34" charset="0"/>
                <a:cs typeface="Arial" panose="020B0604020202020204" pitchFamily="34" charset="0"/>
              </a:defRPr>
            </a:lvl1pPr>
          </a:lstStyle>
          <a:p>
            <a:endParaRPr lang="en-US" dirty="0"/>
          </a:p>
        </p:txBody>
      </p:sp>
      <p:sp>
        <p:nvSpPr>
          <p:cNvPr id="29" name="Text 2">
            <a:extLst>
              <a:ext uri="{FF2B5EF4-FFF2-40B4-BE49-F238E27FC236}">
                <a16:creationId xmlns:a16="http://schemas.microsoft.com/office/drawing/2014/main" id="{4471803B-2E78-8E17-D976-F13F500DF2EE}"/>
              </a:ext>
            </a:extLst>
          </p:cNvPr>
          <p:cNvSpPr>
            <a:spLocks noGrp="1"/>
          </p:cNvSpPr>
          <p:nvPr>
            <p:ph type="body" sz="quarter" idx="17" hasCustomPrompt="1"/>
          </p:nvPr>
        </p:nvSpPr>
        <p:spPr>
          <a:xfrm>
            <a:off x="4199207" y="1818287"/>
            <a:ext cx="7637972" cy="587375"/>
          </a:xfrm>
        </p:spPr>
        <p:txBody>
          <a:bodyPr anchor="ctr"/>
          <a:lstStyle>
            <a:lvl1pPr marL="0" indent="0" algn="ctr">
              <a:buNone/>
              <a:defRPr lang="en-US" sz="1000" b="0" kern="1200" smtClean="0">
                <a:solidFill>
                  <a:schemeClr val="tx1"/>
                </a:solidFill>
                <a:latin typeface="Arial" panose="020B0604020202020204" pitchFamily="34" charset="0"/>
                <a:ea typeface="+mn-ea"/>
                <a:cs typeface="Arial" panose="020B0604020202020204" pitchFamily="34" charset="0"/>
              </a:defRPr>
            </a:lvl1pPr>
          </a:lstStyle>
          <a:p>
            <a:pPr lvl="0"/>
            <a:r>
              <a:rPr lang="en-US" dirty="0"/>
              <a:t>XXX</a:t>
            </a:r>
          </a:p>
        </p:txBody>
      </p:sp>
    </p:spTree>
    <p:custDataLst>
      <p:tags r:id="rId1"/>
    </p:custDataLst>
    <p:extLst>
      <p:ext uri="{BB962C8B-B14F-4D97-AF65-F5344CB8AC3E}">
        <p14:creationId xmlns:p14="http://schemas.microsoft.com/office/powerpoint/2010/main" val="2175404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lossar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21CDEB8-E44B-BE7A-700F-DD2933667B60}"/>
              </a:ext>
            </a:extLst>
          </p:cNvPr>
          <p:cNvGraphicFramePr>
            <a:graphicFrameLocks noChangeAspect="1"/>
          </p:cNvGraphicFramePr>
          <p:nvPr userDrawn="1">
            <p:custDataLst>
              <p:tags r:id="rId2"/>
            </p:custDataLst>
            <p:extLst>
              <p:ext uri="{D42A27DB-BD31-4B8C-83A1-F6EECF244321}">
                <p14:modId xmlns:p14="http://schemas.microsoft.com/office/powerpoint/2010/main" val="3905925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4" imgH="425" progId="TCLayout.ActiveDocument.1">
                  <p:embed/>
                </p:oleObj>
              </mc:Choice>
              <mc:Fallback>
                <p:oleObj name="think-cell Slide" r:id="rId4" imgW="424" imgH="425" progId="TCLayout.ActiveDocument.1">
                  <p:embed/>
                  <p:pic>
                    <p:nvPicPr>
                      <p:cNvPr id="8" name="think-cell data - do not delete" hidden="1">
                        <a:extLst>
                          <a:ext uri="{FF2B5EF4-FFF2-40B4-BE49-F238E27FC236}">
                            <a16:creationId xmlns:a16="http://schemas.microsoft.com/office/drawing/2014/main" id="{B21CDEB8-E44B-BE7A-700F-DD2933667B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p:txBody>
          <a:bodyPr/>
          <a:lstStyle>
            <a:lvl1pPr>
              <a:defRPr>
                <a:latin typeface="Arial" panose="020B0604020202020204" pitchFamily="34" charset="0"/>
                <a:cs typeface="Arial" panose="020B0604020202020204" pitchFamily="34" charset="0"/>
              </a:defRPr>
            </a:lvl1pPr>
          </a:lstStyle>
          <a:p>
            <a:fld id="{397F4CD0-83C1-4C99-A2BD-6DA4A1CC9D00}" type="datetime4">
              <a:rPr lang="en-GB" smtClean="0"/>
              <a:pPr/>
              <a:t>21 August 2025</a:t>
            </a:fld>
            <a:endParaRPr lang="en-GB" dirty="0"/>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p:txBody>
          <a:bodyPr/>
          <a:lstStyle>
            <a:lvl1pPr>
              <a:defRPr>
                <a:latin typeface="Arial" panose="020B0604020202020204" pitchFamily="34" charset="0"/>
                <a:cs typeface="Arial" panose="020B0604020202020204" pitchFamily="34" charset="0"/>
              </a:defRPr>
            </a:lvl1pPr>
          </a:lstStyle>
          <a:p>
            <a:endParaRPr lang="en-GB" dirty="0"/>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lvl1pPr>
              <a:defRPr>
                <a:latin typeface="Arial" panose="020B0604020202020204" pitchFamily="34" charset="0"/>
                <a:cs typeface="Arial" panose="020B0604020202020204" pitchFamily="34" charset="0"/>
              </a:defRPr>
            </a:lvl1pPr>
          </a:lstStyle>
          <a:p>
            <a:fld id="{9F9F533D-B52E-4A2F-BF72-0ADD2D94BD75}" type="slidenum">
              <a:rPr lang="en-GB" smtClean="0"/>
              <a:pPr/>
              <a:t>‹#›</a:t>
            </a:fld>
            <a:endParaRPr lang="en-GB" dirty="0"/>
          </a:p>
        </p:txBody>
      </p:sp>
      <p:sp>
        <p:nvSpPr>
          <p:cNvPr id="9" name="Title">
            <a:extLst>
              <a:ext uri="{FF2B5EF4-FFF2-40B4-BE49-F238E27FC236}">
                <a16:creationId xmlns:a16="http://schemas.microsoft.com/office/drawing/2014/main" id="{3A7A86B9-637F-F18A-3604-5A44F7C4442F}"/>
              </a:ext>
            </a:extLst>
          </p:cNvPr>
          <p:cNvSpPr>
            <a:spLocks noGrp="1"/>
          </p:cNvSpPr>
          <p:nvPr>
            <p:ph type="title" hasCustomPrompt="1"/>
          </p:nvPr>
        </p:nvSpPr>
        <p:spPr>
          <a:xfrm>
            <a:off x="365125" y="242888"/>
            <a:ext cx="11460163" cy="430887"/>
          </a:xfrm>
        </p:spPr>
        <p:txBody>
          <a:bodyPr vert="horz"/>
          <a:lstStyle>
            <a:lvl1pPr>
              <a:defRPr>
                <a:latin typeface="Arial" panose="020B0604020202020204" pitchFamily="34" charset="0"/>
                <a:cs typeface="Arial" panose="020B0604020202020204" pitchFamily="34" charset="0"/>
              </a:defRPr>
            </a:lvl1pPr>
          </a:lstStyle>
          <a:p>
            <a:r>
              <a:rPr lang="en-US" dirty="0"/>
              <a:t>Glossary</a:t>
            </a:r>
          </a:p>
        </p:txBody>
      </p:sp>
      <p:sp>
        <p:nvSpPr>
          <p:cNvPr id="13" name="Freeform: Shape 12">
            <a:extLst>
              <a:ext uri="{FF2B5EF4-FFF2-40B4-BE49-F238E27FC236}">
                <a16:creationId xmlns:a16="http://schemas.microsoft.com/office/drawing/2014/main" id="{22D601A5-6CEE-D258-CCEB-85D1BB27BD8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Arial" panose="020B0604020202020204" pitchFamily="34" charset="0"/>
              <a:cs typeface="Arial" panose="020B0604020202020204" pitchFamily="34" charset="0"/>
            </a:endParaRPr>
          </a:p>
        </p:txBody>
      </p:sp>
      <p:sp>
        <p:nvSpPr>
          <p:cNvPr id="5" name="Freeform: Shape 4">
            <a:extLst>
              <a:ext uri="{FF2B5EF4-FFF2-40B4-BE49-F238E27FC236}">
                <a16:creationId xmlns:a16="http://schemas.microsoft.com/office/drawing/2014/main" id="{2CA69924-8312-93A7-5F21-75AD30BAD2D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latin typeface="Arial" panose="020B0604020202020204" pitchFamily="34" charset="0"/>
              <a:cs typeface="Arial" panose="020B0604020202020204" pitchFamily="34" charset="0"/>
            </a:endParaRPr>
          </a:p>
        </p:txBody>
      </p:sp>
      <p:sp>
        <p:nvSpPr>
          <p:cNvPr id="6" name="Rounded Rectangle 3">
            <a:extLst>
              <a:ext uri="{FF2B5EF4-FFF2-40B4-BE49-F238E27FC236}">
                <a16:creationId xmlns:a16="http://schemas.microsoft.com/office/drawing/2014/main" id="{419A6C63-D432-9A3E-CB96-F7EAA27D2A64}"/>
              </a:ext>
            </a:extLst>
          </p:cNvPr>
          <p:cNvSpPr/>
          <p:nvPr userDrawn="1"/>
        </p:nvSpPr>
        <p:spPr>
          <a:xfrm>
            <a:off x="365125" y="744043"/>
            <a:ext cx="11460163" cy="5419008"/>
          </a:xfrm>
          <a:prstGeom prst="roundRect">
            <a:avLst>
              <a:gd name="adj" fmla="val 466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72000" rIns="180000" bIns="72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b="1" dirty="0">
                <a:solidFill>
                  <a:schemeClr val="tx1"/>
                </a:solidFill>
                <a:effectLst/>
                <a:latin typeface="Arial" panose="020B0604020202020204" pitchFamily="34" charset="0"/>
                <a:cs typeface="Arial" panose="020B0604020202020204" pitchFamily="34" charset="0"/>
              </a:rPr>
              <a:t>Model accuracy</a:t>
            </a:r>
            <a:r>
              <a:rPr lang="en-US" sz="1150" dirty="0">
                <a:solidFill>
                  <a:schemeClr val="tx1"/>
                </a:solidFill>
                <a:effectLst/>
                <a:latin typeface="Arial" panose="020B0604020202020204" pitchFamily="34" charset="0"/>
                <a:cs typeface="Arial" panose="020B0604020202020204" pitchFamily="34" charset="0"/>
              </a:rPr>
              <a:t>: We see two dimensions in “model accuracy”:</a:t>
            </a:r>
            <a:br>
              <a:rPr lang="en-US" sz="1150" dirty="0">
                <a:solidFill>
                  <a:schemeClr val="tx1"/>
                </a:solidFill>
                <a:effectLst/>
                <a:latin typeface="Arial" panose="020B0604020202020204" pitchFamily="34" charset="0"/>
                <a:cs typeface="Arial" panose="020B0604020202020204" pitchFamily="34" charset="0"/>
              </a:rPr>
            </a:br>
            <a:r>
              <a:rPr lang="en-US" sz="1150" dirty="0">
                <a:solidFill>
                  <a:schemeClr val="tx1"/>
                </a:solidFill>
                <a:effectLst/>
                <a:latin typeface="Arial" panose="020B0604020202020204" pitchFamily="34" charset="0"/>
                <a:cs typeface="Arial" panose="020B0604020202020204" pitchFamily="34" charset="0"/>
              </a:rPr>
              <a:t>1) Prediction accuracy: this is the standard metric most predictive models are measured upon and optimized towards. GeMMMa employs regularization to solve the multicollinearity issue. It also provides a time series validation feature to account for out-of-sample accuracy.</a:t>
            </a:r>
            <a:br>
              <a:rPr lang="en-US" sz="1150" dirty="0">
                <a:solidFill>
                  <a:schemeClr val="tx1"/>
                </a:solidFill>
                <a:effectLst/>
                <a:latin typeface="Arial" panose="020B0604020202020204" pitchFamily="34" charset="0"/>
                <a:cs typeface="Arial" panose="020B0604020202020204" pitchFamily="34" charset="0"/>
              </a:rPr>
            </a:br>
            <a:r>
              <a:rPr lang="en-US" sz="1150" dirty="0">
                <a:solidFill>
                  <a:schemeClr val="tx1"/>
                </a:solidFill>
                <a:effectLst/>
                <a:latin typeface="Arial" panose="020B0604020202020204" pitchFamily="34" charset="0"/>
                <a:cs typeface="Arial" panose="020B0604020202020204" pitchFamily="34" charset="0"/>
              </a:rPr>
              <a:t>2) Business acumen: it’s a common practice in MMM to select a model that's better interpretable but has slightly worse fit. In other words, the marketing contribution should make sense. This is already accounted for in GeMMMa’s optimization process. Moreover, GeMMMa’s calibration feature enables causal model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5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50" b="1" dirty="0">
                <a:solidFill>
                  <a:schemeClr val="tx1"/>
                </a:solidFill>
                <a:effectLst/>
                <a:latin typeface="Arial" panose="020B0604020202020204" pitchFamily="34" charset="0"/>
                <a:cs typeface="Arial" panose="020B0604020202020204" pitchFamily="34" charset="0"/>
              </a:rPr>
              <a:t>Baseline</a:t>
            </a:r>
            <a:r>
              <a:rPr lang="en-US" sz="1150" dirty="0">
                <a:solidFill>
                  <a:schemeClr val="tx1"/>
                </a:solidFill>
                <a:effectLst/>
                <a:latin typeface="Arial" panose="020B0604020202020204" pitchFamily="34" charset="0"/>
                <a:cs typeface="Arial" panose="020B0604020202020204" pitchFamily="34" charset="0"/>
              </a:rPr>
              <a:t>: </a:t>
            </a:r>
            <a:r>
              <a:rPr lang="en-SG" sz="1150" b="0" i="0" dirty="0">
                <a:solidFill>
                  <a:srgbClr val="374151"/>
                </a:solidFill>
                <a:effectLst/>
                <a:latin typeface="Arial" panose="020B0604020202020204" pitchFamily="34" charset="0"/>
                <a:cs typeface="Arial" panose="020B0604020202020204" pitchFamily="34" charset="0"/>
              </a:rPr>
              <a:t>The baseline in MMM refers to the expected or predicted level of a business metric (such as sales or revenue) in the absence of specific marketing interventions. It serves as a benchmark, calculated based on historical data, and allows marketers to quantify the impact of marketing activities by comparing actual performance against the anticipated baseline. This comparison aids in optimizing marketing strategy and resource allocation for improved decision-mak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SG" sz="1150" b="0" i="0" dirty="0">
              <a:solidFill>
                <a:srgbClr val="37415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SG" sz="1150" b="1" i="0" dirty="0">
                <a:solidFill>
                  <a:srgbClr val="374151"/>
                </a:solidFill>
                <a:effectLst/>
                <a:latin typeface="Arial" panose="020B0604020202020204" pitchFamily="34" charset="0"/>
                <a:cs typeface="Arial" panose="020B0604020202020204" pitchFamily="34" charset="0"/>
              </a:rPr>
              <a:t>Intercept: </a:t>
            </a:r>
            <a:r>
              <a:rPr lang="en-SG" sz="1150" b="0" i="0" dirty="0">
                <a:solidFill>
                  <a:srgbClr val="374151"/>
                </a:solidFill>
                <a:effectLst/>
                <a:latin typeface="Arial" panose="020B0604020202020204" pitchFamily="34" charset="0"/>
                <a:cs typeface="Arial" panose="020B0604020202020204" pitchFamily="34" charset="0"/>
              </a:rPr>
              <a:t>The intercept in MMM represents the estimated constant or baseline level of a business metric, irrespective of marketing activities. It is a key parameter in regression models used for MMM, accounting for factors other than marketing that influence the metric. The intercept is crucial for establishing the baseline performance against which the impact of marketing variables is measured. Changes in the intercept indicate shifts in the baseline metric level, providing valuable insights for marketers in understanding the inherent dynamics of their business environ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5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50" b="1" dirty="0">
                <a:solidFill>
                  <a:schemeClr val="tx1"/>
                </a:solidFill>
                <a:effectLst/>
                <a:latin typeface="Arial" panose="020B0604020202020204" pitchFamily="34" charset="0"/>
                <a:cs typeface="Arial" panose="020B0604020202020204" pitchFamily="34" charset="0"/>
              </a:rPr>
              <a:t>Saturation curve</a:t>
            </a:r>
            <a:r>
              <a:rPr lang="en-US" sz="1150" dirty="0">
                <a:solidFill>
                  <a:schemeClr val="tx1"/>
                </a:solidFill>
                <a:effectLst/>
                <a:latin typeface="Arial" panose="020B0604020202020204" pitchFamily="34" charset="0"/>
                <a:cs typeface="Arial" panose="020B0604020202020204" pitchFamily="34" charset="0"/>
              </a:rPr>
              <a:t>: A saturation curve typically refers to a graphical representation that illustrates how the effectiveness of a marketing variable (such as advertising) reaches a point of diminishing returns as it approaches full saturation. In simpler terms, it shows how increasing investment or effort in a particular marketing activity eventually leads to a situation where additional investments result in relatively smaller gains. At a certain point, the curve levels off, indicating that further increases may not lead to significant improvements. For example, if you're spending more and more on advertising, there will come a point where additional spending doesn't proportionally increase the impact on sales or other desired outcomes. Understanding the saturation curve is crucial for optimizing marketing strategies and budget allocation. </a:t>
            </a:r>
          </a:p>
          <a:p>
            <a:endParaRPr lang="en-US" sz="1150" b="1" dirty="0">
              <a:solidFill>
                <a:schemeClr val="tx1"/>
              </a:solidFill>
              <a:effectLst/>
              <a:latin typeface="Arial" panose="020B0604020202020204" pitchFamily="34" charset="0"/>
              <a:cs typeface="Arial" panose="020B0604020202020204" pitchFamily="34" charset="0"/>
            </a:endParaRPr>
          </a:p>
          <a:p>
            <a:r>
              <a:rPr lang="en-US" sz="1150" b="1" dirty="0">
                <a:solidFill>
                  <a:schemeClr val="tx1"/>
                </a:solidFill>
                <a:effectLst/>
                <a:latin typeface="Arial" panose="020B0604020202020204" pitchFamily="34" charset="0"/>
                <a:cs typeface="Arial" panose="020B0604020202020204" pitchFamily="34" charset="0"/>
              </a:rPr>
              <a:t>Adstock: </a:t>
            </a:r>
            <a:r>
              <a:rPr lang="en-US" sz="1150" dirty="0">
                <a:solidFill>
                  <a:schemeClr val="tx1"/>
                </a:solidFill>
                <a:effectLst/>
                <a:latin typeface="Arial" panose="020B0604020202020204" pitchFamily="34" charset="0"/>
                <a:cs typeface="Arial" panose="020B0604020202020204" pitchFamily="34" charset="0"/>
              </a:rPr>
              <a:t>In the context of a marketing mix model, adstock refers to the prolonged impact or carryover effect of advertising on consumer behavior. It's like the lingering influence of an ad even after it has been displayed. The idea is that the effects of advertising don't just stop immediately but diminish gradually over time. It helps quantify this lingering impact, helping marketers understand how past advertising efforts continue to contribute to current and future outcomes. </a:t>
            </a:r>
          </a:p>
        </p:txBody>
      </p:sp>
    </p:spTree>
    <p:custDataLst>
      <p:tags r:id="rId1"/>
    </p:custDataLst>
    <p:extLst>
      <p:ext uri="{BB962C8B-B14F-4D97-AF65-F5344CB8AC3E}">
        <p14:creationId xmlns:p14="http://schemas.microsoft.com/office/powerpoint/2010/main" val="310479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oleObject" Target="../embeddings/oleObject2.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80360-3C6D-A798-8CAC-A26D562C3683}"/>
              </a:ext>
            </a:extLst>
          </p:cNvPr>
          <p:cNvGraphicFramePr>
            <a:graphicFrameLocks noChangeAspect="1"/>
          </p:cNvGraphicFramePr>
          <p:nvPr>
            <p:custDataLst>
              <p:tags r:id="rId15"/>
            </p:custDataLst>
            <p:extLst>
              <p:ext uri="{D42A27DB-BD31-4B8C-83A1-F6EECF244321}">
                <p14:modId xmlns:p14="http://schemas.microsoft.com/office/powerpoint/2010/main" val="96625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25" imgH="424" progId="TCLayout.ActiveDocument.1">
                  <p:embed/>
                </p:oleObj>
              </mc:Choice>
              <mc:Fallback>
                <p:oleObj name="think-cell Slide" r:id="rId17" imgW="425" imgH="424" progId="TCLayout.ActiveDocument.1">
                  <p:embed/>
                  <p:pic>
                    <p:nvPicPr>
                      <p:cNvPr id="3" name="Object 2" hidden="1">
                        <a:extLst>
                          <a:ext uri="{FF2B5EF4-FFF2-40B4-BE49-F238E27FC236}">
                            <a16:creationId xmlns:a16="http://schemas.microsoft.com/office/drawing/2014/main" id="{92280360-3C6D-A798-8CAC-A26D562C368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4017962" y="6343650"/>
            <a:ext cx="7807325" cy="269875"/>
          </a:xfrm>
          <a:prstGeom prst="rect">
            <a:avLst/>
          </a:prstGeom>
        </p:spPr>
        <p:txBody>
          <a:bodyPr vert="horz" lIns="0" tIns="0" rIns="0" bIns="0" rtlCol="0" anchor="b" anchorCtr="0">
            <a:noAutofit/>
          </a:bodyPr>
          <a:lstStyle>
            <a:lvl1pPr algn="l">
              <a:defRPr sz="1200">
                <a:solidFill>
                  <a:schemeClr val="tx1"/>
                </a:solidFill>
                <a:latin typeface="+mj-lt"/>
                <a:cs typeface="Arial" panose="020B0604020202020204" pitchFamily="34" charset="0"/>
              </a:defRPr>
            </a:lvl1pPr>
          </a:lstStyle>
          <a:p>
            <a:endParaRPr lang="en-GB" dirty="0"/>
          </a:p>
        </p:txBody>
      </p:sp>
      <p:sp>
        <p:nvSpPr>
          <p:cNvPr id="6" name="Slide Number Placeholder 5"/>
          <p:cNvSpPr>
            <a:spLocks noGrp="1"/>
          </p:cNvSpPr>
          <p:nvPr>
            <p:ph type="sldNum" sz="quarter" idx="4"/>
          </p:nvPr>
        </p:nvSpPr>
        <p:spPr>
          <a:xfrm>
            <a:off x="365125" y="6343650"/>
            <a:ext cx="540000" cy="269875"/>
          </a:xfrm>
          <a:prstGeom prst="rect">
            <a:avLst/>
          </a:prstGeom>
        </p:spPr>
        <p:txBody>
          <a:bodyPr vert="horz" lIns="0" tIns="0" rIns="0" bIns="0" rtlCol="0" anchor="b" anchorCtr="0">
            <a:noAutofit/>
          </a:bodyPr>
          <a:lstStyle>
            <a:lvl1pPr algn="l">
              <a:defRPr sz="1000">
                <a:solidFill>
                  <a:schemeClr val="tx1"/>
                </a:solidFill>
                <a:latin typeface="+mj-lt"/>
                <a:cs typeface="Arial" panose="020B0604020202020204" pitchFamily="34" charset="0"/>
              </a:defRPr>
            </a:lvl1pPr>
          </a:lstStyle>
          <a:p>
            <a:fld id="{9F9F533D-B52E-4A2F-BF72-0ADD2D94BD75}" type="slidenum">
              <a:rPr lang="en-GB" smtClean="0"/>
              <a:pPr/>
              <a:t>‹#›</a:t>
            </a:fld>
            <a:endParaRPr lang="en-GB" dirty="0"/>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Autofit/>
          </a:bodyPr>
          <a:lstStyle/>
          <a:p>
            <a:r>
              <a:rPr lang="en-GB" dirty="0"/>
              <a:t>Click to enter slide title</a:t>
            </a:r>
          </a:p>
        </p:txBody>
      </p:sp>
      <p:sp>
        <p:nvSpPr>
          <p:cNvPr id="7" name="Date Placeholder 6"/>
          <p:cNvSpPr>
            <a:spLocks noGrp="1"/>
          </p:cNvSpPr>
          <p:nvPr>
            <p:ph type="dt" sz="half" idx="2"/>
          </p:nvPr>
        </p:nvSpPr>
        <p:spPr>
          <a:xfrm>
            <a:off x="931069" y="6343650"/>
            <a:ext cx="2776537" cy="269875"/>
          </a:xfrm>
          <a:prstGeom prst="rect">
            <a:avLst/>
          </a:prstGeom>
        </p:spPr>
        <p:txBody>
          <a:bodyPr vert="horz" lIns="0" tIns="0" rIns="0" bIns="0" rtlCol="0" anchor="b" anchorCtr="0">
            <a:noAutofit/>
          </a:bodyPr>
          <a:lstStyle>
            <a:lvl1pPr algn="l">
              <a:defRPr sz="1000">
                <a:solidFill>
                  <a:schemeClr val="tx1"/>
                </a:solidFill>
                <a:latin typeface="+mj-lt"/>
                <a:cs typeface="Arial" panose="020B0604020202020204" pitchFamily="34" charset="0"/>
              </a:defRPr>
            </a:lvl1pPr>
          </a:lstStyle>
          <a:p>
            <a:fld id="{346B58B4-0D72-4C8B-9355-854FB5782278}" type="datetime4">
              <a:rPr lang="en-GB" smtClean="0"/>
              <a:pPr/>
              <a:t>21 August 2025</a:t>
            </a:fld>
            <a:endParaRPr lang="en-GB" dirty="0"/>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36000" tIns="36000" rIns="36000" bIns="36000" rtlCol="0">
            <a:noAutofit/>
          </a:bodyPr>
          <a:lstStyle/>
          <a:p>
            <a:pPr lvl="0"/>
            <a:r>
              <a:rPr lang="en-GB" dirty="0"/>
              <a:t>Click to enter text content.</a:t>
            </a:r>
            <a:br>
              <a:rPr lang="en-GB" dirty="0"/>
            </a:br>
            <a:r>
              <a:rPr lang="en-GB" dirty="0"/>
              <a:t>To increase bullet level, select your text &gt; press ‘Tab’.</a:t>
            </a:r>
            <a:br>
              <a:rPr lang="en-GB" dirty="0"/>
            </a:br>
            <a:r>
              <a:rPr lang="en-GB" dirty="0"/>
              <a:t>To decrease bullet level, select your text &gt; press ‘Shift’ + ‘Tab’.</a:t>
            </a:r>
            <a:br>
              <a:rPr lang="en-GB" dirty="0"/>
            </a:br>
            <a:r>
              <a:rPr lang="en-GB" dirty="0"/>
              <a:t>To remove bullet levels, select your text &gt; right click &gt; press ‘bullet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a:p>
            <a:pPr lvl="4"/>
            <a:endParaRPr lang="en-GB" dirty="0"/>
          </a:p>
        </p:txBody>
      </p:sp>
      <p:graphicFrame>
        <p:nvGraphicFramePr>
          <p:cNvPr id="2" name="Object 1" hidden="1">
            <a:extLst>
              <a:ext uri="{FF2B5EF4-FFF2-40B4-BE49-F238E27FC236}">
                <a16:creationId xmlns:a16="http://schemas.microsoft.com/office/drawing/2014/main" id="{68282CB4-0FD8-B104-9321-BA11F0350884}"/>
              </a:ext>
            </a:extLst>
          </p:cNvPr>
          <p:cNvGraphicFramePr>
            <a:graphicFrameLocks noChangeAspect="1"/>
          </p:cNvGraphicFramePr>
          <p:nvPr userDrawn="1">
            <p:custDataLst>
              <p:tags r:id="rId16"/>
            </p:custDataLst>
            <p:extLst>
              <p:ext uri="{D42A27DB-BD31-4B8C-83A1-F6EECF244321}">
                <p14:modId xmlns:p14="http://schemas.microsoft.com/office/powerpoint/2010/main" val="96625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25" imgH="424" progId="TCLayout.ActiveDocument.1">
                  <p:embed/>
                </p:oleObj>
              </mc:Choice>
              <mc:Fallback>
                <p:oleObj name="think-cell Slide" r:id="rId19" imgW="425" imgH="424" progId="TCLayout.ActiveDocument.1">
                  <p:embed/>
                  <p:pic>
                    <p:nvPicPr>
                      <p:cNvPr id="2" name="Object 1" hidden="1">
                        <a:extLst>
                          <a:ext uri="{FF2B5EF4-FFF2-40B4-BE49-F238E27FC236}">
                            <a16:creationId xmlns:a16="http://schemas.microsoft.com/office/drawing/2014/main" id="{68282CB4-0FD8-B104-9321-BA11F035088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Tree>
    <p:custDataLst>
      <p:tags r:id="rId14"/>
    </p:custDataLst>
    <p:extLst>
      <p:ext uri="{BB962C8B-B14F-4D97-AF65-F5344CB8AC3E}">
        <p14:creationId xmlns:p14="http://schemas.microsoft.com/office/powerpoint/2010/main" val="3442277182"/>
      </p:ext>
    </p:extLst>
  </p:cSld>
  <p:clrMap bg1="lt1" tx1="dk1" bg2="lt2" tx2="dk2" accent1="accent1" accent2="accent2" accent3="accent3" accent4="accent4" accent5="accent5" accent6="accent6" hlink="hlink" folHlink="folHlink"/>
  <p:sldLayoutIdLst>
    <p:sldLayoutId id="2147483789" r:id="rId1"/>
    <p:sldLayoutId id="2147483822" r:id="rId2"/>
    <p:sldLayoutId id="2147483794" r:id="rId3"/>
    <p:sldLayoutId id="2147483818" r:id="rId4"/>
    <p:sldLayoutId id="2147483824" r:id="rId5"/>
    <p:sldLayoutId id="2147483819" r:id="rId6"/>
    <p:sldLayoutId id="2147483795" r:id="rId7"/>
    <p:sldLayoutId id="2147483821" r:id="rId8"/>
    <p:sldLayoutId id="2147483820" r:id="rId9"/>
    <p:sldLayoutId id="2147483823" r:id="rId10"/>
    <p:sldLayoutId id="2147483815" r:id="rId11"/>
    <p:sldLayoutId id="2147483816"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1219170" rtl="0" eaLnBrk="1" latinLnBrk="0" hangingPunct="1">
        <a:lnSpc>
          <a:spcPct val="100000"/>
        </a:lnSpc>
        <a:spcBef>
          <a:spcPct val="0"/>
        </a:spcBef>
        <a:buNone/>
        <a:defRPr sz="2800" b="1" kern="1200">
          <a:solidFill>
            <a:schemeClr val="tx2"/>
          </a:solidFill>
          <a:latin typeface="+mj-lt"/>
          <a:ea typeface="+mj-ea"/>
          <a:cs typeface="Arial" panose="020B0604020202020204" pitchFamily="34" charset="0"/>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j-lt"/>
          <a:ea typeface="+mn-ea"/>
          <a:cs typeface="Arial" panose="020B0604020202020204" pitchFamily="34" charset="0"/>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j-lt"/>
          <a:ea typeface="+mn-ea"/>
          <a:cs typeface="Arial" panose="020B0604020202020204" pitchFamily="34" charset="0"/>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j-lt"/>
          <a:ea typeface="+mn-ea"/>
          <a:cs typeface="Arial" panose="020B0604020202020204" pitchFamily="34" charset="0"/>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j-lt"/>
          <a:ea typeface="+mn-ea"/>
          <a:cs typeface="Arial" panose="020B0604020202020204" pitchFamily="34" charset="0"/>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j-lt"/>
          <a:ea typeface="+mn-ea"/>
          <a:cs typeface="Arial" panose="020B0604020202020204" pitchFamily="34" charset="0"/>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j-lt"/>
          <a:ea typeface="+mn-ea"/>
          <a:cs typeface="Arial" panose="020B0604020202020204" pitchFamily="34" charset="0"/>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j-lt"/>
          <a:ea typeface="+mn-ea"/>
          <a:cs typeface="Arial" panose="020B0604020202020204" pitchFamily="34" charset="0"/>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j-lt"/>
          <a:ea typeface="+mn-ea"/>
          <a:cs typeface="Arial" panose="020B0604020202020204" pitchFamily="34" charset="0"/>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j-lt"/>
          <a:ea typeface="+mn-ea"/>
          <a:cs typeface="Arial" panose="020B0604020202020204" pitchFamily="34" charset="0"/>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8">
          <p15:clr>
            <a:srgbClr val="A6A6A6"/>
          </p15:clr>
        </p15:guide>
        <p15:guide id="29" pos="7680">
          <p15:clr>
            <a:srgbClr val="A6A6A6"/>
          </p15:clr>
        </p15:guide>
        <p15:guide id="30" pos="230">
          <p15:clr>
            <a:srgbClr val="A6A6A6"/>
          </p15:clr>
        </p15:guide>
        <p15:guide id="31" pos="1301">
          <p15:clr>
            <a:srgbClr val="A6A6A6"/>
          </p15:clr>
        </p15:guide>
        <p15:guide id="32" pos="1461">
          <p15:clr>
            <a:srgbClr val="A6A6A6"/>
          </p15:clr>
        </p15:guide>
        <p15:guide id="33" pos="2531">
          <p15:clr>
            <a:srgbClr val="A6A6A6"/>
          </p15:clr>
        </p15:guide>
        <p15:guide id="34" pos="2690">
          <p15:clr>
            <a:srgbClr val="A6A6A6"/>
          </p15:clr>
        </p15:guide>
        <p15:guide id="35" pos="3759">
          <p15:clr>
            <a:srgbClr val="A6A6A6"/>
          </p15:clr>
        </p15:guide>
        <p15:guide id="36" pos="3920">
          <p15:clr>
            <a:srgbClr val="A6A6A6"/>
          </p15:clr>
        </p15:guide>
        <p15:guide id="37" pos="4989">
          <p15:clr>
            <a:srgbClr val="A6A6A6"/>
          </p15:clr>
        </p15:guide>
        <p15:guide id="38" pos="5148">
          <p15:clr>
            <a:srgbClr val="A6A6A6"/>
          </p15:clr>
        </p15:guide>
        <p15:guide id="39" pos="6218">
          <p15:clr>
            <a:srgbClr val="A6A6A6"/>
          </p15:clr>
        </p15:guide>
        <p15:guide id="40" pos="6378">
          <p15:clr>
            <a:srgbClr val="A6A6A6"/>
          </p15:clr>
        </p15:guide>
        <p15:guide id="41" pos="7449">
          <p15:clr>
            <a:srgbClr val="A6A6A6"/>
          </p15:clr>
        </p15:guide>
        <p15:guide id="42" orient="horz">
          <p15:clr>
            <a:srgbClr val="A6A6A6"/>
          </p15:clr>
        </p15:guide>
        <p15:guide id="43" orient="horz" pos="4315">
          <p15:clr>
            <a:srgbClr val="A6A6A6"/>
          </p15:clr>
        </p15:guide>
        <p15:guide id="44" orient="horz" pos="153">
          <p15:clr>
            <a:srgbClr val="A6A6A6"/>
          </p15:clr>
        </p15:guide>
        <p15:guide id="45" orient="horz" pos="686">
          <p15:clr>
            <a:srgbClr val="A6A6A6"/>
          </p15:clr>
        </p15:guide>
        <p15:guide id="46" orient="horz" pos="821">
          <p15:clr>
            <a:srgbClr val="A6A6A6"/>
          </p15:clr>
        </p15:guide>
        <p15:guide id="47" orient="horz" pos="1323">
          <p15:clr>
            <a:srgbClr val="A6A6A6"/>
          </p15:clr>
        </p15:guide>
        <p15:guide id="48" orient="horz" pos="2330">
          <p15:clr>
            <a:srgbClr val="A6A6A6"/>
          </p15:clr>
        </p15:guide>
        <p15:guide id="49" orient="horz" pos="3335">
          <p15:clr>
            <a:srgbClr val="A6A6A6"/>
          </p15:clr>
        </p15:guide>
        <p15:guide id="50" orient="horz" pos="3837">
          <p15:clr>
            <a:srgbClr val="A6A6A6"/>
          </p15:clr>
        </p15:guide>
        <p15:guide id="51" orient="horz" pos="4166">
          <p15:clr>
            <a:srgbClr val="A6A6A6"/>
          </p15:clr>
        </p15:guide>
        <p15:guide id="52" orient="horz" pos="1827">
          <p15:clr>
            <a:srgbClr val="A4A3A4"/>
          </p15:clr>
        </p15:guide>
        <p15:guide id="53" orient="horz" pos="2832">
          <p15:clr>
            <a:srgbClr val="A4A3A4"/>
          </p15:clr>
        </p15:guide>
        <p15:guide id="54" orient="horz" pos="3996">
          <p15:clr>
            <a:srgbClr val="A4A3A4"/>
          </p15:clr>
        </p15:guide>
      </p15:sldGuideLst>
    </p:ext>
  </p:extLst>
</p:sldMaster>
</file>

<file path=ppt/tags/tag1.xml><?xml version="1.0" encoding="utf-8"?>
<p:tagLst xmlns:a="http://schemas.openxmlformats.org/drawingml/2006/main" xmlns:r="http://schemas.openxmlformats.org/officeDocument/2006/relationships" xmlns:p="http://schemas.openxmlformats.org/presentationml/2006/main">
  <p:tag name="ARTICULATE_DESIGN_ID_GSK " val="DqY5De45"/>
  <p:tag name="THINKCELLUNDODONOTDELETE" val="0"/>
  <p:tag name="ARTICULATE_SLIDE_COUNT" val="72"/>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osa">
  <a:themeElements>
    <a:clrScheme name="GSK_Template_2022">
      <a:dk1>
        <a:srgbClr val="000000"/>
      </a:dk1>
      <a:lt1>
        <a:srgbClr val="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959595"/>
      </a:folHlink>
    </a:clrScheme>
    <a:fontScheme name="Arial">
      <a:majorFont>
        <a:latin typeface="Arial"/>
        <a:ea typeface=""/>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rial"/>
        <a:ea typeface=""/>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l" eaLnBrk="0" fontAlgn="auto" hangingPunct="0">
          <a:spcBef>
            <a:spcPts val="300"/>
          </a:spcBef>
          <a:spcAft>
            <a:spcPts val="300"/>
          </a:spcAft>
          <a:buClr>
            <a:schemeClr val="tx2"/>
          </a:buClr>
          <a:buSzPct val="110000"/>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spcBef>
            <a:spcPts val="300"/>
          </a:spcBef>
          <a:spcAft>
            <a:spcPts val="300"/>
          </a:spcAft>
          <a:buClr>
            <a:schemeClr val="tx2"/>
          </a:buClr>
          <a:buSzPct val="110000"/>
          <a:defRPr sz="1600" dirty="0" err="1" smtClean="0"/>
        </a:defPPr>
      </a:lstStyle>
    </a:txDef>
  </a:objectDefaults>
  <a:extraClrSchemeLst/>
  <a:custClrLst>
    <a:custClr name="Custom Color 1">
      <a:srgbClr val="6658A6"/>
    </a:custClr>
    <a:custClr name="Custom Color 2">
      <a:srgbClr val="E21860"/>
    </a:custClr>
    <a:custClr name="Custom Color 3">
      <a:srgbClr val="69B445"/>
    </a:custClr>
    <a:custClr name="Custom Color 4">
      <a:srgbClr val="244EA2"/>
    </a:custClr>
    <a:custClr name="Custom Color 5">
      <a:srgbClr val="FFC709"/>
    </a:custClr>
    <a:custClr name="Custom Color 6">
      <a:srgbClr val="DC4133"/>
    </a:custClr>
    <a:custClr name="Custom Color 7">
      <a:srgbClr val="00B8AD"/>
    </a:custClr>
    <a:custClr name="BLANK">
      <a:srgbClr val="FFFFFF"/>
    </a:custClr>
    <a:custClr name="BLANK">
      <a:srgbClr val="FFFFFF"/>
    </a:custClr>
    <a:custClr name="BLANK">
      <a:srgbClr val="FFFFFF"/>
    </a:custClr>
    <a:custClr name="Custom Color 11">
      <a:srgbClr val="522E91"/>
    </a:custClr>
    <a:custClr name="Custom Color 12">
      <a:srgbClr val="862045"/>
    </a:custClr>
    <a:custClr name="Custom Color 13">
      <a:srgbClr val="436632"/>
    </a:custClr>
    <a:custClr name="Custom Color 14">
      <a:srgbClr val="263970"/>
    </a:custClr>
    <a:custClr name="Custom Color 15">
      <a:srgbClr val="C1A42B"/>
    </a:custClr>
    <a:custClr name="Custom Color 16">
      <a:srgbClr val="983728"/>
    </a:custClr>
    <a:custClr name="Custom Color 17">
      <a:srgbClr val="02736E"/>
    </a:custClr>
    <a:custClr name="BLANK">
      <a:srgbClr val="FFFFFF"/>
    </a:custClr>
    <a:custClr name="BLANK">
      <a:srgbClr val="FFFFFF"/>
    </a:custClr>
    <a:custClr name="BLANK">
      <a:srgbClr val="FFFFFF"/>
    </a:custClr>
    <a:custClr name="Custom Color 21">
      <a:srgbClr val="AB95C7"/>
    </a:custClr>
    <a:custClr name="Custom Color 22">
      <a:srgbClr val="CA8E9E"/>
    </a:custClr>
    <a:custClr name="Custom Color 23">
      <a:srgbClr val="85A977"/>
    </a:custClr>
    <a:custClr name="Custom Color 24">
      <a:srgbClr val="6F8CC7"/>
    </a:custClr>
    <a:custClr name="Custom Color 25">
      <a:srgbClr val="E2CC8F"/>
    </a:custClr>
    <a:custClr name="Custom Color 26">
      <a:srgbClr val="D6A197"/>
    </a:custClr>
    <a:custClr name="Custom Color 27">
      <a:srgbClr val="72ABA3"/>
    </a:custClr>
  </a:custClrLst>
  <a:extLst>
    <a:ext uri="{05A4C25C-085E-4340-85A3-A5531E510DB2}">
      <thm15:themeFamily xmlns:thm15="http://schemas.microsoft.com/office/thememl/2012/main" name="EXTERNAL USE - GSK PowerPoint Artkit with Arial Font  -  Read-Only" id="{3D2AF6EB-6A25-4999-94F4-DDD3E0B2CEDD}" vid="{0293858B-27C6-436F-AA60-C9B6AF2797F0}"/>
    </a:ext>
  </a:extLst>
</a:theme>
</file>

<file path=ppt/theme/theme2.xml><?xml version="1.0" encoding="utf-8"?>
<a:theme xmlns:a="http://schemas.openxmlformats.org/drawingml/2006/main" name="Office Theme">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Arial">
      <a:majorFont>
        <a:latin typeface="Arial"/>
        <a:ea typeface=""/>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rial"/>
        <a:ea typeface=""/>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Arial">
      <a:majorFont>
        <a:latin typeface="Arial"/>
        <a:ea typeface=""/>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rial"/>
        <a:ea typeface=""/>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31989eb-7121-409c-871c-8f2366272918">
      <Terms xmlns="http://schemas.microsoft.com/office/infopath/2007/PartnerControls"/>
    </lcf76f155ced4ddcb4097134ff3c332f>
    <TaxCatchAll xmlns="a5bf85ab-5b89-45d5-812d-d881043611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FBBF6E9189954BA0FDCD563682A98B" ma:contentTypeVersion="18" ma:contentTypeDescription="Create a new document." ma:contentTypeScope="" ma:versionID="9bdf76aae32a16157cdf99bcf588af46">
  <xsd:schema xmlns:xsd="http://www.w3.org/2001/XMLSchema" xmlns:xs="http://www.w3.org/2001/XMLSchema" xmlns:p="http://schemas.microsoft.com/office/2006/metadata/properties" xmlns:ns2="731989eb-7121-409c-871c-8f2366272918" xmlns:ns3="a5bf85ab-5b89-45d5-812d-d881043611a5" targetNamespace="http://schemas.microsoft.com/office/2006/metadata/properties" ma:root="true" ma:fieldsID="97593d73db6a2b5e524ced3160a40bae" ns2:_="" ns3:_="">
    <xsd:import namespace="731989eb-7121-409c-871c-8f2366272918"/>
    <xsd:import namespace="a5bf85ab-5b89-45d5-812d-d881043611a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3:SharedWithUsers" minOccurs="0"/>
                <xsd:element ref="ns3:SharedWithDetails"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1989eb-7121-409c-871c-8f23662729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f367377-cea2-4f59-9866-8491a8f07ab9"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bf85ab-5b89-45d5-812d-d881043611a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018993d-1d16-43cf-b63c-2f328976747f}" ma:internalName="TaxCatchAll" ma:showField="CatchAllData" ma:web="a5bf85ab-5b89-45d5-812d-d881043611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11B79B3-E15B-458F-91DF-7EEDA242F08F}">
  <ds:schemaRefs>
    <ds:schemaRef ds:uri="http://schemas.microsoft.com/sharepoint/v3/contenttype/forms"/>
  </ds:schemaRefs>
</ds:datastoreItem>
</file>

<file path=customXml/itemProps2.xml><?xml version="1.0" encoding="utf-8"?>
<ds:datastoreItem xmlns:ds="http://schemas.openxmlformats.org/officeDocument/2006/customXml" ds:itemID="{B7FC8329-C6F9-417B-AFDE-5E22243E6E66}">
  <ds:schemaRefs>
    <ds:schemaRef ds:uri="http://purl.org/dc/terms/"/>
    <ds:schemaRef ds:uri="http://schemas.microsoft.com/office/2006/metadata/properties"/>
    <ds:schemaRef ds:uri="http://purl.org/dc/elements/1.1/"/>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a5bf85ab-5b89-45d5-812d-d881043611a5"/>
    <ds:schemaRef ds:uri="731989eb-7121-409c-871c-8f2366272918"/>
    <ds:schemaRef ds:uri="http://purl.org/dc/dcmitype/"/>
  </ds:schemaRefs>
</ds:datastoreItem>
</file>

<file path=customXml/itemProps3.xml><?xml version="1.0" encoding="utf-8"?>
<ds:datastoreItem xmlns:ds="http://schemas.openxmlformats.org/officeDocument/2006/customXml" ds:itemID="{75C7F452-23BB-460B-972E-4634A33A02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1989eb-7121-409c-871c-8f2366272918"/>
    <ds:schemaRef ds:uri="a5bf85ab-5b89-45d5-812d-d881043611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XTERNAL USE - GSK PowerPoint Artkit with Arial Font 4.0</Template>
  <TotalTime>379</TotalTime>
  <Words>0</Words>
  <Application>Microsoft Macintosh PowerPoint</Application>
  <PresentationFormat>Widescreen</PresentationFormat>
  <Paragraphs>0</Paragraphs>
  <Slides>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0</vt:i4>
      </vt:variant>
    </vt:vector>
  </HeadingPairs>
  <TitlesOfParts>
    <vt:vector size="4" baseType="lpstr">
      <vt:lpstr>Avenir Book</vt:lpstr>
      <vt:lpstr>Arial</vt:lpstr>
      <vt:lpstr>Rosa</vt:lpstr>
      <vt:lpstr>think-cell Slide</vt:lpstr>
    </vt:vector>
  </TitlesOfParts>
  <Company>GlaxoSmithKli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SK PowerPoint template with Arial font</dc:title>
  <dc:creator>Bernardo Lares</dc:creator>
  <cp:lastModifiedBy>Bernardo Lares</cp:lastModifiedBy>
  <cp:revision>7</cp:revision>
  <dcterms:created xsi:type="dcterms:W3CDTF">2024-10-07T11:00:24Z</dcterms:created>
  <dcterms:modified xsi:type="dcterms:W3CDTF">2025-08-21T07:4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FBBF6E9189954BA0FDCD563682A98B</vt:lpwstr>
  </property>
  <property fmtid="{D5CDD505-2E9C-101B-9397-08002B2CF9AE}" pid="3" name="MediaServiceImageTags">
    <vt:lpwstr/>
  </property>
  <property fmtid="{D5CDD505-2E9C-101B-9397-08002B2CF9AE}" pid="4" name="ArticulateGUID">
    <vt:lpwstr>15CDE283-B26F-4D28-871F-EAED173C219D</vt:lpwstr>
  </property>
  <property fmtid="{D5CDD505-2E9C-101B-9397-08002B2CF9AE}" pid="5" name="ArticulatePath">
    <vt:lpwstr>Presentation1</vt:lpwstr>
  </property>
  <property fmtid="{D5CDD505-2E9C-101B-9397-08002B2CF9AE}" pid="6" name="MSIP_Label_bea66b2b-af80-48b6-873b-d341d3035cfa_Enabled">
    <vt:lpwstr>true</vt:lpwstr>
  </property>
  <property fmtid="{D5CDD505-2E9C-101B-9397-08002B2CF9AE}" pid="7" name="MSIP_Label_bea66b2b-af80-48b6-873b-d341d3035cfa_SetDate">
    <vt:lpwstr>2024-06-03T16:27:34Z</vt:lpwstr>
  </property>
  <property fmtid="{D5CDD505-2E9C-101B-9397-08002B2CF9AE}" pid="8" name="MSIP_Label_bea66b2b-af80-48b6-873b-d341d3035cfa_Method">
    <vt:lpwstr>Standard</vt:lpwstr>
  </property>
  <property fmtid="{D5CDD505-2E9C-101B-9397-08002B2CF9AE}" pid="9" name="MSIP_Label_bea66b2b-af80-48b6-873b-d341d3035cfa_Name">
    <vt:lpwstr>Proprietary</vt:lpwstr>
  </property>
  <property fmtid="{D5CDD505-2E9C-101B-9397-08002B2CF9AE}" pid="10" name="MSIP_Label_bea66b2b-af80-48b6-873b-d341d3035cfa_SiteId">
    <vt:lpwstr>63982aff-fb6c-4c22-973b-70e4acfb63e6</vt:lpwstr>
  </property>
  <property fmtid="{D5CDD505-2E9C-101B-9397-08002B2CF9AE}" pid="11" name="MSIP_Label_bea66b2b-af80-48b6-873b-d341d3035cfa_ActionId">
    <vt:lpwstr>cedfc1d2-9ab9-4709-9c2d-ae5d8f043987</vt:lpwstr>
  </property>
  <property fmtid="{D5CDD505-2E9C-101B-9397-08002B2CF9AE}" pid="12" name="MSIP_Label_bea66b2b-af80-48b6-873b-d341d3035cfa_ContentBits">
    <vt:lpwstr>0</vt:lpwstr>
  </property>
</Properties>
</file>